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4"/>
    <p:sldMasterId id="2147483772" r:id="rId5"/>
  </p:sldMasterIdLst>
  <p:notesMasterIdLst>
    <p:notesMasterId r:id="rId33"/>
  </p:notesMasterIdLst>
  <p:handoutMasterIdLst>
    <p:handoutMasterId r:id="rId34"/>
  </p:handoutMasterIdLst>
  <p:sldIdLst>
    <p:sldId id="503" r:id="rId6"/>
    <p:sldId id="260" r:id="rId7"/>
    <p:sldId id="357" r:id="rId8"/>
    <p:sldId id="1501" r:id="rId9"/>
    <p:sldId id="1490" r:id="rId10"/>
    <p:sldId id="1498" r:id="rId11"/>
    <p:sldId id="1499" r:id="rId12"/>
    <p:sldId id="1500" r:id="rId13"/>
    <p:sldId id="1502" r:id="rId14"/>
    <p:sldId id="1503" r:id="rId15"/>
    <p:sldId id="1506" r:id="rId16"/>
    <p:sldId id="1513" r:id="rId17"/>
    <p:sldId id="355" r:id="rId18"/>
    <p:sldId id="418" r:id="rId19"/>
    <p:sldId id="377" r:id="rId20"/>
    <p:sldId id="1512" r:id="rId21"/>
    <p:sldId id="1510" r:id="rId22"/>
    <p:sldId id="1509" r:id="rId23"/>
    <p:sldId id="1511" r:id="rId24"/>
    <p:sldId id="1505" r:id="rId25"/>
    <p:sldId id="369" r:id="rId26"/>
    <p:sldId id="1504" r:id="rId27"/>
    <p:sldId id="404" r:id="rId28"/>
    <p:sldId id="401" r:id="rId29"/>
    <p:sldId id="1507" r:id="rId30"/>
    <p:sldId id="1514" r:id="rId31"/>
    <p:sldId id="490" r:id="rId32"/>
  </p:sldIdLst>
  <p:sldSz cx="9144000" cy="5143500" type="screen16x9"/>
  <p:notesSz cx="6858000" cy="9144000"/>
  <p:custDataLst>
    <p:tags r:id="rId35"/>
  </p:custDataLst>
  <p:defaultTextStyle>
    <a:defPPr>
      <a:defRPr lang="en-US"/>
    </a:defPPr>
    <a:lvl1pPr marL="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1431"/>
    <a:srgbClr val="E5531A"/>
    <a:srgbClr val="17428C"/>
    <a:srgbClr val="67B9B0"/>
    <a:srgbClr val="219CDC"/>
    <a:srgbClr val="005EB8"/>
    <a:srgbClr val="00D2D2"/>
    <a:srgbClr val="96BF0D"/>
    <a:srgbClr val="EF64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14BA1D6-2973-4076-B094-76BDED00CFAE}" v="126" dt="2026-03-24T11:36:31.843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943" autoAdjust="0"/>
    <p:restoredTop sz="94947" autoAdjust="0"/>
  </p:normalViewPr>
  <p:slideViewPr>
    <p:cSldViewPr snapToGrid="0">
      <p:cViewPr varScale="1">
        <p:scale>
          <a:sx n="104" d="100"/>
          <a:sy n="104" d="100"/>
        </p:scale>
        <p:origin x="110" y="293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9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159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E3D6DB-BD7A-4C41-A9B1-0D1F935BBF27}" type="datetimeFigureOut">
              <a:rPr lang="en-GB" smtClean="0"/>
              <a:t>24/03/202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EEEE4A-4C15-4642-BD33-534D621758B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09228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608C3-A79A-4355-BC3B-EA2B86C5C82E}" type="datetimeFigureOut">
              <a:rPr lang="fr-FR" smtClean="0"/>
              <a:t>24/03/2026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703F2F-7FC8-463A-8733-490258586A88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9780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703F2F-7FC8-463A-8733-490258586A88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8620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11703F2F-7FC8-463A-8733-490258586A88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2664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703F2F-7FC8-463A-8733-490258586A88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6871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703F2F-7FC8-463A-8733-490258586A88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3111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703F2F-7FC8-463A-8733-490258586A88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04042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703F2F-7FC8-463A-8733-490258586A88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44575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703F2F-7FC8-463A-8733-490258586A88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21437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703F2F-7FC8-463A-8733-490258586A88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8394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emf"/><Relationship Id="rId9" Type="http://schemas.openxmlformats.org/officeDocument/2006/relationships/image" Target="../media/image17.sv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9.jpg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que 6">
            <a:extLst>
              <a:ext uri="{FF2B5EF4-FFF2-40B4-BE49-F238E27FC236}">
                <a16:creationId xmlns:a16="http://schemas.microsoft.com/office/drawing/2014/main" id="{E0A037EE-2D06-3A37-A640-1C9B0455460F}"/>
              </a:ext>
            </a:extLst>
          </p:cNvPr>
          <p:cNvSpPr/>
          <p:nvPr/>
        </p:nvSpPr>
        <p:spPr>
          <a:xfrm>
            <a:off x="5295418" y="835541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50000">
                <a:schemeClr val="tx1"/>
              </a:gs>
              <a:gs pos="25000">
                <a:schemeClr val="bg2"/>
              </a:gs>
              <a:gs pos="75000">
                <a:schemeClr val="accent4"/>
              </a:gs>
              <a:gs pos="100000">
                <a:schemeClr val="accent5"/>
              </a:gs>
            </a:gsLst>
            <a:lin ang="0" scaled="0"/>
          </a:gra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22" name="Graphique 6">
            <a:extLst>
              <a:ext uri="{FF2B5EF4-FFF2-40B4-BE49-F238E27FC236}">
                <a16:creationId xmlns:a16="http://schemas.microsoft.com/office/drawing/2014/main" id="{B713A0F4-CAFE-C918-36F2-8C5E96539E15}"/>
              </a:ext>
            </a:extLst>
          </p:cNvPr>
          <p:cNvSpPr/>
          <p:nvPr userDrawn="1"/>
        </p:nvSpPr>
        <p:spPr>
          <a:xfrm>
            <a:off x="4994476" y="604047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solidFill>
            <a:srgbClr val="FFFFFF"/>
          </a:soli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7DF1ECAD-5FBE-4A81-939A-22479C884F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418" y="1525027"/>
            <a:ext cx="2974693" cy="615553"/>
          </a:xfrm>
        </p:spPr>
        <p:txBody>
          <a:bodyPr anchor="b"/>
          <a:lstStyle>
            <a:lvl1pPr>
              <a:defRPr sz="2000">
                <a:gradFill>
                  <a:gsLst>
                    <a:gs pos="0">
                      <a:schemeClr val="tx2"/>
                    </a:gs>
                    <a:gs pos="50000">
                      <a:schemeClr val="tx1"/>
                    </a:gs>
                    <a:gs pos="25000">
                      <a:schemeClr val="bg2"/>
                    </a:gs>
                    <a:gs pos="75000">
                      <a:schemeClr val="accent4"/>
                    </a:gs>
                    <a:gs pos="100000">
                      <a:schemeClr val="accent5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2451FC70-2CFA-417D-AE0B-CF2ABAE2CB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95418" y="2255640"/>
            <a:ext cx="2974693" cy="956952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15" name="new-logo SG">
            <a:extLst>
              <a:ext uri="{FF2B5EF4-FFF2-40B4-BE49-F238E27FC236}">
                <a16:creationId xmlns:a16="http://schemas.microsoft.com/office/drawing/2014/main" id="{0F26C776-13F8-486A-9C6B-AA82DC20E7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3280" y="4019244"/>
            <a:ext cx="1970532" cy="110842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179EA69-81C6-32BE-EC66-DA56BB64D03C}"/>
              </a:ext>
            </a:extLst>
          </p:cNvPr>
          <p:cNvSpPr/>
          <p:nvPr userDrawn="1"/>
        </p:nvSpPr>
        <p:spPr>
          <a:xfrm>
            <a:off x="0" y="0"/>
            <a:ext cx="2576945" cy="51435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9204280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sous-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B83D5005-748A-A813-C970-8EE54652114F}"/>
              </a:ext>
            </a:extLst>
          </p:cNvPr>
          <p:cNvSpPr/>
          <p:nvPr userDrawn="1"/>
        </p:nvSpPr>
        <p:spPr>
          <a:xfrm>
            <a:off x="552450" y="552450"/>
            <a:ext cx="3344862" cy="4033835"/>
          </a:xfrm>
          <a:prstGeom prst="roundRect">
            <a:avLst>
              <a:gd name="adj" fmla="val 2716"/>
            </a:avLst>
          </a:prstGeom>
          <a:gradFill>
            <a:gsLst>
              <a:gs pos="0">
                <a:schemeClr val="tx1"/>
              </a:gs>
              <a:gs pos="50000">
                <a:schemeClr val="accent4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0" y="2093146"/>
            <a:ext cx="3492000" cy="11251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228594" marR="0" indent="-228594" algn="l" defTabSz="91437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 b="1" i="0" cap="all" baseline="0">
                <a:ln>
                  <a:noFill/>
                </a:ln>
                <a:solidFill>
                  <a:schemeClr val="tx1"/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Title 2 Arial corps 12</a:t>
            </a:r>
          </a:p>
          <a:p>
            <a:r>
              <a:rPr lang="en-US" noProof="0" dirty="0"/>
              <a:t>Title 2 Arial corps 12</a:t>
            </a:r>
          </a:p>
          <a:p>
            <a:r>
              <a:rPr lang="en-US" noProof="0" dirty="0"/>
              <a:t>Title 2 Arial corps 12</a:t>
            </a:r>
          </a:p>
          <a:p>
            <a:r>
              <a:rPr lang="en-US" noProof="0" dirty="0"/>
              <a:t>Title 2 Arial corps 12</a:t>
            </a:r>
          </a:p>
        </p:txBody>
      </p:sp>
      <p:grpSp>
        <p:nvGrpSpPr>
          <p:cNvPr id="7" name="Groupe 6"/>
          <p:cNvGrpSpPr/>
          <p:nvPr userDrawn="1"/>
        </p:nvGrpSpPr>
        <p:grpSpPr>
          <a:xfrm>
            <a:off x="-3288093" y="1323794"/>
            <a:ext cx="3062503" cy="3082895"/>
            <a:chOff x="-3288093" y="648154"/>
            <a:chExt cx="3062503" cy="3082895"/>
          </a:xfrm>
        </p:grpSpPr>
        <p:sp>
          <p:nvSpPr>
            <p:cNvPr id="15" name="ZoneTexte 14"/>
            <p:cNvSpPr txBox="1"/>
            <p:nvPr userDrawn="1"/>
          </p:nvSpPr>
          <p:spPr>
            <a:xfrm>
              <a:off x="-3288093" y="648154"/>
              <a:ext cx="2952328" cy="308289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an image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the </a:t>
              </a:r>
              <a:r>
                <a:rPr lang="en-US" sz="900" b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ictures</a:t>
              </a: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con in the </a:t>
              </a:r>
              <a:r>
                <a:rPr lang="en-US" sz="900" b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</a:t>
              </a: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ab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ect your image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200"/>
                </a:spcBef>
                <a:buNone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ze an image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the image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o to the Format tab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Crop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ping handles will appear. Click, hold and drag a handle to crop the image.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ntre the image by clicking, holding and dragging it to the centre of the box. </a:t>
              </a:r>
            </a:p>
            <a:p>
              <a:pPr marL="0" indent="0">
                <a:spcBef>
                  <a:spcPts val="200"/>
                </a:spcBef>
                <a:buFont typeface="+mj-lt"/>
                <a:buNone/>
              </a:pPr>
              <a:r>
                <a:rPr lang="en-US" sz="900" u="sng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.B.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rop the image proportionally, hold the Shift key while you resize the image.</a:t>
              </a:r>
            </a:p>
            <a:p>
              <a:pPr marL="0" indent="0">
                <a:spcBef>
                  <a:spcPts val="200"/>
                </a:spcBef>
                <a:buNone/>
              </a:pP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</a:t>
              </a:r>
              <a: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place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 image displayed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ete the image displayed</a:t>
              </a: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the Pictures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con</a:t>
              </a:r>
              <a:endPara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ect a new image</a:t>
              </a:r>
            </a:p>
          </p:txBody>
        </p:sp>
        <p:grpSp>
          <p:nvGrpSpPr>
            <p:cNvPr id="17" name="Groupe 16"/>
            <p:cNvGrpSpPr/>
            <p:nvPr userDrawn="1"/>
          </p:nvGrpSpPr>
          <p:grpSpPr>
            <a:xfrm rot="10800000" flipH="1">
              <a:off x="-369606" y="708660"/>
              <a:ext cx="144016" cy="2903220"/>
              <a:chOff x="-252536" y="-475622"/>
              <a:chExt cx="144016" cy="2903220"/>
            </a:xfrm>
          </p:grpSpPr>
          <p:cxnSp>
            <p:nvCxnSpPr>
              <p:cNvPr id="18" name="Connecteur droit 17"/>
              <p:cNvCxnSpPr/>
              <p:nvPr userDrawn="1"/>
            </p:nvCxnSpPr>
            <p:spPr>
              <a:xfrm rot="10800000" flipH="1" flipV="1">
                <a:off x="-252536" y="-475622"/>
                <a:ext cx="0" cy="290322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necteur droit 18"/>
              <p:cNvCxnSpPr/>
              <p:nvPr userDrawn="1"/>
            </p:nvCxnSpPr>
            <p:spPr>
              <a:xfrm flipH="1">
                <a:off x="-252536" y="911924"/>
                <a:ext cx="144016" cy="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0" name="Image 19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640065" y="1440141"/>
              <a:ext cx="308933" cy="492004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</p:grpSp>
      <p:sp>
        <p:nvSpPr>
          <p:cNvPr id="6" name="Titre 5">
            <a:extLst>
              <a:ext uri="{FF2B5EF4-FFF2-40B4-BE49-F238E27FC236}">
                <a16:creationId xmlns:a16="http://schemas.microsoft.com/office/drawing/2014/main" id="{D948DE6C-A9E7-4243-B395-48749870B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0" y="1370526"/>
            <a:ext cx="4065235" cy="615553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FAE61FC6-47A1-4B77-B7FA-C6C3AD0E743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426" y="347665"/>
            <a:ext cx="3340456" cy="4033835"/>
          </a:xfrm>
          <a:prstGeom prst="roundRect">
            <a:avLst>
              <a:gd name="adj" fmla="val 2932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5F522F5-C1D6-45D1-8FE8-6AA4638CBD2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170C2CE-EC95-4D24-AF19-3C4592061E8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740902164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5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-3357114" y="1134349"/>
            <a:ext cx="3204941" cy="1744067"/>
            <a:chOff x="-3348880" y="587521"/>
            <a:chExt cx="3204941" cy="1744067"/>
          </a:xfrm>
        </p:grpSpPr>
        <p:sp>
          <p:nvSpPr>
            <p:cNvPr id="23" name="ZoneTexte 22"/>
            <p:cNvSpPr txBox="1"/>
            <p:nvPr userDrawn="1"/>
          </p:nvSpPr>
          <p:spPr>
            <a:xfrm>
              <a:off x="-3348880" y="587521"/>
              <a:ext cx="3059374" cy="17440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change the style of your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s </a:t>
              </a:r>
              <a:r>
                <a:rPr lang="en-US" sz="900" b="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xt levels:</a:t>
              </a: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er your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ext in the text box</a:t>
              </a:r>
              <a:endPara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move your text to the next level, </a:t>
              </a:r>
              <a:b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the Home menu, in the Paragraph group, </a:t>
              </a:r>
              <a:b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</a:t>
              </a:r>
              <a: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rease List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evel</a:t>
              </a:r>
              <a:b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endPara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move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our text to the previous level, </a:t>
              </a:r>
              <a:b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the Home menu, in the Paragraph group, </a:t>
              </a:r>
              <a:b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rease List Level</a:t>
              </a:r>
              <a:endPara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200"/>
                </a:spcBef>
                <a:buNone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s will apply a predefined text style.</a:t>
              </a:r>
            </a:p>
          </p:txBody>
        </p:sp>
        <p:grpSp>
          <p:nvGrpSpPr>
            <p:cNvPr id="24" name="Groupe 23"/>
            <p:cNvGrpSpPr/>
            <p:nvPr userDrawn="1"/>
          </p:nvGrpSpPr>
          <p:grpSpPr>
            <a:xfrm>
              <a:off x="-287939" y="663721"/>
              <a:ext cx="144000" cy="1570751"/>
              <a:chOff x="-252536" y="0"/>
              <a:chExt cx="144016" cy="1570751"/>
            </a:xfrm>
          </p:grpSpPr>
          <p:cxnSp>
            <p:nvCxnSpPr>
              <p:cNvPr id="27" name="Connecteur droit 26"/>
              <p:cNvCxnSpPr/>
              <p:nvPr userDrawn="1"/>
            </p:nvCxnSpPr>
            <p:spPr>
              <a:xfrm>
                <a:off x="-252536" y="0"/>
                <a:ext cx="898" cy="1570751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necteur droit 27"/>
              <p:cNvCxnSpPr/>
              <p:nvPr userDrawn="1"/>
            </p:nvCxnSpPr>
            <p:spPr>
              <a:xfrm flipH="1">
                <a:off x="-252536" y="211832"/>
                <a:ext cx="144016" cy="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" name="ZoneTexte 28"/>
          <p:cNvSpPr txBox="1"/>
          <p:nvPr userDrawn="1"/>
        </p:nvSpPr>
        <p:spPr>
          <a:xfrm>
            <a:off x="-3248517" y="3753974"/>
            <a:ext cx="2952328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hange the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Insert tab, go to Header &amp; Footer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he Presentation title in the Footer area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US" sz="900" b="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apply this change to the current slide only or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US" sz="900" b="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apply the change to the entire presentation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Groupe 29"/>
          <p:cNvGrpSpPr/>
          <p:nvPr userDrawn="1"/>
        </p:nvGrpSpPr>
        <p:grpSpPr>
          <a:xfrm>
            <a:off x="-296189" y="3753974"/>
            <a:ext cx="144016" cy="1364565"/>
            <a:chOff x="-252536" y="-795971"/>
            <a:chExt cx="144016" cy="1364565"/>
          </a:xfrm>
        </p:grpSpPr>
        <p:cxnSp>
          <p:nvCxnSpPr>
            <p:cNvPr id="31" name="Connecteur droit 30"/>
            <p:cNvCxnSpPr/>
            <p:nvPr userDrawn="1"/>
          </p:nvCxnSpPr>
          <p:spPr>
            <a:xfrm>
              <a:off x="-252536" y="-795971"/>
              <a:ext cx="0" cy="136456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6" y="338145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730359" y="1710119"/>
            <a:ext cx="253420" cy="183967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-730359" y="2281619"/>
            <a:ext cx="253420" cy="183967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91AF826-6135-4D1B-88F9-048CD66C029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0" y="1073301"/>
            <a:ext cx="7675290" cy="3308200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AD58CF97-6444-4AE4-817F-703A4BDE1B2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057E4A0-4EE4-4500-996A-5BDE870B55F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CA0BAD95-AD7B-4ECA-9E20-F13672D316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838098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82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5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-3357114" y="1134349"/>
            <a:ext cx="3204941" cy="1744067"/>
            <a:chOff x="-3348880" y="587521"/>
            <a:chExt cx="3204941" cy="1744067"/>
          </a:xfrm>
        </p:grpSpPr>
        <p:sp>
          <p:nvSpPr>
            <p:cNvPr id="23" name="ZoneTexte 22"/>
            <p:cNvSpPr txBox="1"/>
            <p:nvPr userDrawn="1"/>
          </p:nvSpPr>
          <p:spPr>
            <a:xfrm>
              <a:off x="-3348880" y="587521"/>
              <a:ext cx="3059374" cy="17440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change the style of your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s </a:t>
              </a:r>
              <a:r>
                <a:rPr lang="en-US" sz="900" b="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xt levels:</a:t>
              </a: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er your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ext in the text box</a:t>
              </a:r>
              <a:endPara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move your text to the next level, </a:t>
              </a:r>
              <a:b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the Home menu, in the Paragraph group, </a:t>
              </a:r>
              <a:b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</a:t>
              </a:r>
              <a: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rease List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evel</a:t>
              </a:r>
              <a:b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endPara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move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our text to the previous level, </a:t>
              </a:r>
              <a:b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the Home menu, in the Paragraph group, </a:t>
              </a:r>
              <a:b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rease List Level</a:t>
              </a:r>
              <a:endPara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200"/>
                </a:spcBef>
                <a:buNone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s will apply a predefined text style.</a:t>
              </a:r>
            </a:p>
          </p:txBody>
        </p:sp>
        <p:grpSp>
          <p:nvGrpSpPr>
            <p:cNvPr id="24" name="Groupe 23"/>
            <p:cNvGrpSpPr/>
            <p:nvPr userDrawn="1"/>
          </p:nvGrpSpPr>
          <p:grpSpPr>
            <a:xfrm>
              <a:off x="-287939" y="663721"/>
              <a:ext cx="144000" cy="1570751"/>
              <a:chOff x="-252536" y="0"/>
              <a:chExt cx="144016" cy="1570751"/>
            </a:xfrm>
          </p:grpSpPr>
          <p:cxnSp>
            <p:nvCxnSpPr>
              <p:cNvPr id="27" name="Connecteur droit 26"/>
              <p:cNvCxnSpPr/>
              <p:nvPr userDrawn="1"/>
            </p:nvCxnSpPr>
            <p:spPr>
              <a:xfrm>
                <a:off x="-252536" y="0"/>
                <a:ext cx="898" cy="1570751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necteur droit 27"/>
              <p:cNvCxnSpPr/>
              <p:nvPr userDrawn="1"/>
            </p:nvCxnSpPr>
            <p:spPr>
              <a:xfrm flipH="1">
                <a:off x="-252536" y="211832"/>
                <a:ext cx="144016" cy="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" name="ZoneTexte 28"/>
          <p:cNvSpPr txBox="1"/>
          <p:nvPr userDrawn="1"/>
        </p:nvSpPr>
        <p:spPr>
          <a:xfrm>
            <a:off x="-3248517" y="3753974"/>
            <a:ext cx="2952328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hange the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Insert tab, go to Header &amp; Footer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he Presentation title in the Footer area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US" sz="900" b="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apply this change to the current slide only or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US" sz="900" b="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apply the change to the entire presentation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Groupe 29"/>
          <p:cNvGrpSpPr/>
          <p:nvPr userDrawn="1"/>
        </p:nvGrpSpPr>
        <p:grpSpPr>
          <a:xfrm>
            <a:off x="-296189" y="3753974"/>
            <a:ext cx="144016" cy="1364565"/>
            <a:chOff x="-252536" y="-795971"/>
            <a:chExt cx="144016" cy="1364565"/>
          </a:xfrm>
        </p:grpSpPr>
        <p:cxnSp>
          <p:nvCxnSpPr>
            <p:cNvPr id="31" name="Connecteur droit 30"/>
            <p:cNvCxnSpPr/>
            <p:nvPr userDrawn="1"/>
          </p:nvCxnSpPr>
          <p:spPr>
            <a:xfrm>
              <a:off x="-252536" y="-795971"/>
              <a:ext cx="0" cy="136456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6" y="338145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730359" y="1710119"/>
            <a:ext cx="253420" cy="183967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-730359" y="2281619"/>
            <a:ext cx="253420" cy="183967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91AF826-6135-4D1B-88F9-048CD66C029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0" y="1073301"/>
            <a:ext cx="4112326" cy="3308199"/>
          </a:xfrm>
        </p:spPr>
        <p:txBody>
          <a:bodyPr/>
          <a:lstStyle/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CFEEE405-8235-42BE-A489-8306C9A0C83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84982" y="1073301"/>
            <a:ext cx="4112326" cy="3308199"/>
          </a:xfrm>
        </p:spPr>
        <p:txBody>
          <a:bodyPr/>
          <a:lstStyle/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8F701E6A-EC33-47ED-867A-87D491AB552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8C26DBE-6803-46D8-8AC1-E41CA38B8C7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7F41775F-9C59-47DD-9DD9-A6E52E0F5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865120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82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5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-3357114" y="1134349"/>
            <a:ext cx="3204941" cy="1744067"/>
            <a:chOff x="-3348880" y="587521"/>
            <a:chExt cx="3204941" cy="1744067"/>
          </a:xfrm>
        </p:grpSpPr>
        <p:sp>
          <p:nvSpPr>
            <p:cNvPr id="23" name="ZoneTexte 22"/>
            <p:cNvSpPr txBox="1"/>
            <p:nvPr userDrawn="1"/>
          </p:nvSpPr>
          <p:spPr>
            <a:xfrm>
              <a:off x="-3348880" y="587521"/>
              <a:ext cx="3059374" cy="17440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change the style of your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s </a:t>
              </a:r>
              <a:r>
                <a:rPr lang="en-US" sz="900" b="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xt levels:</a:t>
              </a: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er your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ext in the text box</a:t>
              </a:r>
              <a:endPara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move your text to the next level, </a:t>
              </a:r>
              <a:b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the Home menu, in the Paragraph group, </a:t>
              </a:r>
              <a:b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</a:t>
              </a:r>
              <a: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rease List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evel</a:t>
              </a:r>
              <a:b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endPara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move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our text to the previous level, </a:t>
              </a:r>
              <a:b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the Home menu, in the Paragraph group, </a:t>
              </a:r>
              <a:b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rease List Level</a:t>
              </a:r>
              <a:endPara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indent="-228600">
                <a:spcBef>
                  <a:spcPts val="200"/>
                </a:spcBef>
                <a:buAutoNum type="arabicPeriod"/>
              </a:pP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200"/>
                </a:spcBef>
                <a:buNone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s will apply a predefined text style.</a:t>
              </a:r>
            </a:p>
          </p:txBody>
        </p:sp>
        <p:grpSp>
          <p:nvGrpSpPr>
            <p:cNvPr id="24" name="Groupe 23"/>
            <p:cNvGrpSpPr/>
            <p:nvPr userDrawn="1"/>
          </p:nvGrpSpPr>
          <p:grpSpPr>
            <a:xfrm>
              <a:off x="-287939" y="663721"/>
              <a:ext cx="144000" cy="1570751"/>
              <a:chOff x="-252536" y="0"/>
              <a:chExt cx="144016" cy="1570751"/>
            </a:xfrm>
          </p:grpSpPr>
          <p:cxnSp>
            <p:nvCxnSpPr>
              <p:cNvPr id="27" name="Connecteur droit 26"/>
              <p:cNvCxnSpPr/>
              <p:nvPr userDrawn="1"/>
            </p:nvCxnSpPr>
            <p:spPr>
              <a:xfrm>
                <a:off x="-252536" y="0"/>
                <a:ext cx="898" cy="1570751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necteur droit 27"/>
              <p:cNvCxnSpPr/>
              <p:nvPr userDrawn="1"/>
            </p:nvCxnSpPr>
            <p:spPr>
              <a:xfrm flipH="1">
                <a:off x="-252536" y="211832"/>
                <a:ext cx="144016" cy="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" name="ZoneTexte 28"/>
          <p:cNvSpPr txBox="1"/>
          <p:nvPr userDrawn="1"/>
        </p:nvSpPr>
        <p:spPr>
          <a:xfrm>
            <a:off x="-3248517" y="3753974"/>
            <a:ext cx="2952328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hange the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Insert tab, go to Header &amp; Footer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he Presentation title in the Footer area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US" sz="900" b="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apply this change to the current slide only or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US" sz="900" b="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apply the change to the entire presentation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Groupe 29"/>
          <p:cNvGrpSpPr/>
          <p:nvPr userDrawn="1"/>
        </p:nvGrpSpPr>
        <p:grpSpPr>
          <a:xfrm>
            <a:off x="-296189" y="3753974"/>
            <a:ext cx="144016" cy="1364565"/>
            <a:chOff x="-252536" y="-795971"/>
            <a:chExt cx="144016" cy="1364565"/>
          </a:xfrm>
        </p:grpSpPr>
        <p:cxnSp>
          <p:nvCxnSpPr>
            <p:cNvPr id="31" name="Connecteur droit 30"/>
            <p:cNvCxnSpPr/>
            <p:nvPr userDrawn="1"/>
          </p:nvCxnSpPr>
          <p:spPr>
            <a:xfrm>
              <a:off x="-252536" y="-795971"/>
              <a:ext cx="0" cy="136456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6" y="338145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730359" y="1710119"/>
            <a:ext cx="253420" cy="183967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-730359" y="2281619"/>
            <a:ext cx="253420" cy="183967"/>
          </a:xfrm>
          <a:prstGeom prst="rect">
            <a:avLst/>
          </a:prstGeom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id="{8B292E44-78F0-46CB-8E25-ADFBC4475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91AF826-6135-4D1B-88F9-048CD66C029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0" y="1073301"/>
            <a:ext cx="2699555" cy="3308199"/>
          </a:xfrm>
        </p:spPr>
        <p:txBody>
          <a:bodyPr/>
          <a:lstStyle/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CFEEE405-8235-42BE-A489-8306C9A0C83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226804" y="1073301"/>
            <a:ext cx="2699555" cy="3308199"/>
          </a:xfrm>
        </p:spPr>
        <p:txBody>
          <a:bodyPr/>
          <a:lstStyle/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id="{F7D78955-164B-4A0F-8C9D-680FC8F401B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3608" y="1073301"/>
            <a:ext cx="2699555" cy="3308199"/>
          </a:xfrm>
        </p:spPr>
        <p:txBody>
          <a:bodyPr/>
          <a:lstStyle/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6F9446D-A7AF-4B50-AD59-DB380E24CDBD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C36AEF9-67A3-4B74-8333-BF55A40C18C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34998255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82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 1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/>
          <p:cNvSpPr txBox="1"/>
          <p:nvPr userDrawn="1"/>
        </p:nvSpPr>
        <p:spPr>
          <a:xfrm>
            <a:off x="9534310" y="494346"/>
            <a:ext cx="2952328" cy="30828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US" sz="900" b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 in the </a:t>
            </a:r>
            <a:r>
              <a:rPr lang="en-US" sz="900" b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your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</a:p>
        </p:txBody>
      </p:sp>
      <p:grpSp>
        <p:nvGrpSpPr>
          <p:cNvPr id="24" name="Groupe 23"/>
          <p:cNvGrpSpPr/>
          <p:nvPr userDrawn="1"/>
        </p:nvGrpSpPr>
        <p:grpSpPr>
          <a:xfrm flipH="1">
            <a:off x="9302033" y="554852"/>
            <a:ext cx="144016" cy="2903220"/>
            <a:chOff x="-252536" y="-475622"/>
            <a:chExt cx="144016" cy="2903220"/>
          </a:xfrm>
        </p:grpSpPr>
        <p:cxnSp>
          <p:nvCxnSpPr>
            <p:cNvPr id="27" name="Connecteur droit 26"/>
            <p:cNvCxnSpPr/>
            <p:nvPr userDrawn="1"/>
          </p:nvCxnSpPr>
          <p:spPr>
            <a:xfrm rot="10800000" flipH="1" flipV="1">
              <a:off x="-252536" y="-475622"/>
              <a:ext cx="0" cy="290322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6" y="911924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Imag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2338" y="1286333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BFDFF783-0F3D-4B87-B773-EE89DBDEA5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001" y="654998"/>
            <a:ext cx="5064056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F73483C-7FD2-4451-825B-7A9326290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27702"/>
            <a:ext cx="5064055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3" name="Espace réservé du texte 10">
            <a:extLst>
              <a:ext uri="{FF2B5EF4-FFF2-40B4-BE49-F238E27FC236}">
                <a16:creationId xmlns:a16="http://schemas.microsoft.com/office/drawing/2014/main" id="{284DC51A-D5E9-46AD-A915-1D44753E9CE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1" y="1073301"/>
            <a:ext cx="4821046" cy="3316952"/>
          </a:xfrm>
        </p:spPr>
        <p:txBody>
          <a:bodyPr/>
          <a:lstStyle/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</p:txBody>
      </p:sp>
      <p:sp>
        <p:nvSpPr>
          <p:cNvPr id="16" name="Espace réservé pour une image  12">
            <a:extLst>
              <a:ext uri="{FF2B5EF4-FFF2-40B4-BE49-F238E27FC236}">
                <a16:creationId xmlns:a16="http://schemas.microsoft.com/office/drawing/2014/main" id="{CBF8930B-8B4A-46DB-A8D2-8C018F037CE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525035" y="347665"/>
            <a:ext cx="3273147" cy="4033833"/>
          </a:xfrm>
          <a:prstGeom prst="roundRect">
            <a:avLst>
              <a:gd name="adj" fmla="val 2932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235F8665-7307-4C94-8A8E-6148FE0EADB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512C9C9-4017-49F2-8C78-5369EDA8D2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125629230"/>
      </p:ext>
    </p:extLst>
  </p:cSld>
  <p:clrMapOvr>
    <a:masterClrMapping/>
  </p:clrMapOvr>
  <p:transition spd="slow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1/3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e 22"/>
          <p:cNvGrpSpPr/>
          <p:nvPr userDrawn="1"/>
        </p:nvGrpSpPr>
        <p:grpSpPr>
          <a:xfrm>
            <a:off x="-3288093" y="1281746"/>
            <a:ext cx="3062503" cy="3082895"/>
            <a:chOff x="-3288093" y="648154"/>
            <a:chExt cx="3062503" cy="3082895"/>
          </a:xfrm>
        </p:grpSpPr>
        <p:sp>
          <p:nvSpPr>
            <p:cNvPr id="24" name="ZoneTexte 23"/>
            <p:cNvSpPr txBox="1"/>
            <p:nvPr userDrawn="1"/>
          </p:nvSpPr>
          <p:spPr>
            <a:xfrm>
              <a:off x="-3288093" y="648154"/>
              <a:ext cx="2952328" cy="308289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an image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the </a:t>
              </a:r>
              <a:r>
                <a:rPr lang="en-US" sz="900" b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ictures</a:t>
              </a: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con in the </a:t>
              </a:r>
              <a:r>
                <a:rPr lang="en-US" sz="900" b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</a:t>
              </a: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ab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ect your image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>
                <a:spcBef>
                  <a:spcPts val="200"/>
                </a:spcBef>
                <a:buNone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ze an image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the image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o to the Format tab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Crop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ping handles will appear. Click, hold and drag a handle to crop the image.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ntre the image by clicking, holding and dragging it to the centre of the box. </a:t>
              </a:r>
            </a:p>
            <a:p>
              <a:pPr marL="0" indent="0">
                <a:spcBef>
                  <a:spcPts val="200"/>
                </a:spcBef>
                <a:buFont typeface="+mj-lt"/>
                <a:buNone/>
              </a:pPr>
              <a:r>
                <a:rPr lang="en-US" sz="900" u="sng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.B.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rop the image proportionally, hold the Shift key while you resize the image.</a:t>
              </a:r>
            </a:p>
            <a:p>
              <a:pPr marL="0" indent="0">
                <a:spcBef>
                  <a:spcPts val="200"/>
                </a:spcBef>
                <a:buNone/>
              </a:pP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</a:t>
              </a:r>
              <a: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place</a:t>
              </a:r>
              <a:r>
                <a:rPr lang="en-US" sz="900" b="1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900" b="1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 image displayed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228600" indent="-228600">
                <a:spcBef>
                  <a:spcPts val="200"/>
                </a:spcBef>
                <a:buFont typeface="+mj-lt"/>
                <a:buAutoNum type="arabicPeriod"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ete the image displayed</a:t>
              </a:r>
              <a:endPara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the Pictures</a:t>
              </a:r>
              <a:r>
                <a:rPr lang="en-US" sz="900" baseline="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con</a:t>
              </a:r>
              <a:endPara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900" noProof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ect a new image</a:t>
              </a:r>
            </a:p>
          </p:txBody>
        </p:sp>
        <p:grpSp>
          <p:nvGrpSpPr>
            <p:cNvPr id="25" name="Groupe 24"/>
            <p:cNvGrpSpPr/>
            <p:nvPr userDrawn="1"/>
          </p:nvGrpSpPr>
          <p:grpSpPr>
            <a:xfrm rot="10800000" flipH="1">
              <a:off x="-369606" y="708660"/>
              <a:ext cx="144016" cy="2903220"/>
              <a:chOff x="-252536" y="-475622"/>
              <a:chExt cx="144016" cy="2903220"/>
            </a:xfrm>
          </p:grpSpPr>
          <p:cxnSp>
            <p:nvCxnSpPr>
              <p:cNvPr id="27" name="Connecteur droit 26"/>
              <p:cNvCxnSpPr/>
              <p:nvPr userDrawn="1"/>
            </p:nvCxnSpPr>
            <p:spPr>
              <a:xfrm rot="10800000" flipH="1" flipV="1">
                <a:off x="-252536" y="-475622"/>
                <a:ext cx="0" cy="290322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necteur droit 27"/>
              <p:cNvCxnSpPr/>
              <p:nvPr userDrawn="1"/>
            </p:nvCxnSpPr>
            <p:spPr>
              <a:xfrm flipH="1">
                <a:off x="-252536" y="911924"/>
                <a:ext cx="144016" cy="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6" name="Image 25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640065" y="1440141"/>
              <a:ext cx="308933" cy="492004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</p:grp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884F5BCB-6D56-4AB9-92E8-FA03D590B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41999" y="654998"/>
            <a:ext cx="4384189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1F3E4D4-25FF-4610-91B2-31E97C6320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2001" y="327702"/>
            <a:ext cx="4384188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76EA039-2D90-4E19-9ACC-96D5BFE331D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941763" y="1071879"/>
            <a:ext cx="4851400" cy="3309621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BEEAF0CE-8DEE-4553-A899-F4DF84FF0F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426" y="347665"/>
            <a:ext cx="3273148" cy="4033835"/>
          </a:xfrm>
          <a:prstGeom prst="roundRect">
            <a:avLst>
              <a:gd name="adj" fmla="val 2932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56B919B-1BF2-4C96-913C-05B082A6BAD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6AB1DED-879B-48C1-BCAB-E65F78C683C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621834282"/>
      </p:ext>
    </p:extLst>
  </p:cSld>
  <p:clrMapOvr>
    <a:masterClrMapping/>
  </p:clrMapOvr>
  <p:transition spd="slow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et 2 petites imag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27702"/>
            <a:ext cx="6480980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6484142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74911412-C9BF-4051-B013-27DCDCCC22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88157" y="583590"/>
            <a:ext cx="1805006" cy="1849271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9E37E46B-A015-4F6F-A43F-B4499A62F2D3}"/>
              </a:ext>
            </a:extLst>
          </p:cNvPr>
          <p:cNvSpPr txBox="1"/>
          <p:nvPr userDrawn="1"/>
        </p:nvSpPr>
        <p:spPr>
          <a:xfrm>
            <a:off x="967923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oupe 51">
            <a:extLst>
              <a:ext uri="{FF2B5EF4-FFF2-40B4-BE49-F238E27FC236}">
                <a16:creationId xmlns:a16="http://schemas.microsoft.com/office/drawing/2014/main" id="{242550B6-20BF-4B7D-BE86-A57608874007}"/>
              </a:ext>
            </a:extLst>
          </p:cNvPr>
          <p:cNvGrpSpPr/>
          <p:nvPr userDrawn="1"/>
        </p:nvGrpSpPr>
        <p:grpSpPr>
          <a:xfrm flipH="1">
            <a:off x="9219400" y="581025"/>
            <a:ext cx="144016" cy="4562475"/>
            <a:chOff x="-252536" y="-197952"/>
            <a:chExt cx="144016" cy="4562475"/>
          </a:xfrm>
        </p:grpSpPr>
        <p:cxnSp>
          <p:nvCxnSpPr>
            <p:cNvPr id="53" name="Connecteur droit 52">
              <a:extLst>
                <a:ext uri="{FF2B5EF4-FFF2-40B4-BE49-F238E27FC236}">
                  <a16:creationId xmlns:a16="http://schemas.microsoft.com/office/drawing/2014/main" id="{FF09EC4E-BAB6-4850-B996-1B078D0961FE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eur droit 53">
              <a:extLst>
                <a:ext uri="{FF2B5EF4-FFF2-40B4-BE49-F238E27FC236}">
                  <a16:creationId xmlns:a16="http://schemas.microsoft.com/office/drawing/2014/main" id="{5DACF023-ED39-4B11-8FE6-9748A415CB15}"/>
                </a:ext>
              </a:extLst>
            </p:cNvPr>
            <p:cNvCxnSpPr/>
            <p:nvPr userDrawn="1"/>
          </p:nvCxnSpPr>
          <p:spPr>
            <a:xfrm flipH="1">
              <a:off x="-252536" y="2606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>
              <a:extLst>
                <a:ext uri="{FF2B5EF4-FFF2-40B4-BE49-F238E27FC236}">
                  <a16:creationId xmlns:a16="http://schemas.microsoft.com/office/drawing/2014/main" id="{F453AC62-F0B9-47B2-ADA4-B2B2517DC47B}"/>
                </a:ext>
              </a:extLst>
            </p:cNvPr>
            <p:cNvCxnSpPr/>
            <p:nvPr userDrawn="1"/>
          </p:nvCxnSpPr>
          <p:spPr>
            <a:xfrm flipH="1">
              <a:off x="-252536" y="233709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195E1888-A9FE-4984-8EEC-E22E24E925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4800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0" y="1073301"/>
            <a:ext cx="6309485" cy="3304249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5" name="Espace réservé pour une image  29">
            <a:extLst>
              <a:ext uri="{FF2B5EF4-FFF2-40B4-BE49-F238E27FC236}">
                <a16:creationId xmlns:a16="http://schemas.microsoft.com/office/drawing/2014/main" id="{4CD2EE8E-886A-4ABD-9789-ED28185F7EB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988157" y="2528279"/>
            <a:ext cx="1805006" cy="1849271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D9E99D35-EAAC-4F90-9836-2740C6F31D2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47F53DE-3CAC-4401-BECB-3C9F821D05F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3102251229"/>
      </p:ext>
    </p:extLst>
  </p:cSld>
  <p:clrMapOvr>
    <a:masterClrMapping/>
  </p:clrMapOvr>
  <p:transition spd="slow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petite image +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pour une image  29">
            <a:extLst>
              <a:ext uri="{FF2B5EF4-FFF2-40B4-BE49-F238E27FC236}">
                <a16:creationId xmlns:a16="http://schemas.microsoft.com/office/drawing/2014/main" id="{62842B35-B946-44F4-B32F-EC077A6058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88157" y="583585"/>
            <a:ext cx="1805006" cy="1849271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27702"/>
            <a:ext cx="6480980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6484142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0" y="1073301"/>
            <a:ext cx="6309485" cy="3316952"/>
          </a:xfrm>
        </p:spPr>
        <p:txBody>
          <a:bodyPr/>
          <a:lstStyle/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2F93307-FF6C-4A23-A887-ABBF5881FF8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88156" y="2528273"/>
            <a:ext cx="1803600" cy="1849271"/>
          </a:xfrm>
          <a:prstGeom prst="roundRect">
            <a:avLst>
              <a:gd name="adj" fmla="val 6210"/>
            </a:avLst>
          </a:prstGeom>
          <a:gradFill>
            <a:gsLst>
              <a:gs pos="100000">
                <a:schemeClr val="accent2"/>
              </a:gs>
              <a:gs pos="0">
                <a:schemeClr val="accent6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2366A88-9E01-4270-9CD5-FC01E6246F05}"/>
              </a:ext>
            </a:extLst>
          </p:cNvPr>
          <p:cNvSpPr txBox="1"/>
          <p:nvPr userDrawn="1"/>
        </p:nvSpPr>
        <p:spPr>
          <a:xfrm>
            <a:off x="967923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70FE99-2C53-47D4-BB06-69CF0C130B96}"/>
              </a:ext>
            </a:extLst>
          </p:cNvPr>
          <p:cNvGrpSpPr/>
          <p:nvPr userDrawn="1"/>
        </p:nvGrpSpPr>
        <p:grpSpPr>
          <a:xfrm flipH="1">
            <a:off x="9219400" y="581025"/>
            <a:ext cx="144016" cy="4562475"/>
            <a:chOff x="-252536" y="-197952"/>
            <a:chExt cx="144016" cy="4562475"/>
          </a:xfrm>
        </p:grpSpPr>
        <p:cxnSp>
          <p:nvCxnSpPr>
            <p:cNvPr id="18" name="Connecteur droit 17">
              <a:extLst>
                <a:ext uri="{FF2B5EF4-FFF2-40B4-BE49-F238E27FC236}">
                  <a16:creationId xmlns:a16="http://schemas.microsoft.com/office/drawing/2014/main" id="{01082D70-401C-474A-9B6C-5D446C724627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74EBA2B6-FC25-417E-8395-1DA231D8952E}"/>
                </a:ext>
              </a:extLst>
            </p:cNvPr>
            <p:cNvCxnSpPr/>
            <p:nvPr userDrawn="1"/>
          </p:nvCxnSpPr>
          <p:spPr>
            <a:xfrm flipH="1">
              <a:off x="-252536" y="2606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Image 21">
            <a:extLst>
              <a:ext uri="{FF2B5EF4-FFF2-40B4-BE49-F238E27FC236}">
                <a16:creationId xmlns:a16="http://schemas.microsoft.com/office/drawing/2014/main" id="{07E0CEC6-CD3E-4F42-8D58-FBD1159FB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4800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DCDE88AA-AD96-4510-9DD9-B2598562A674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62F4D66-BE3D-4F67-A639-E2D8B8200C0C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601815572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3 petit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29">
            <a:extLst>
              <a:ext uri="{FF2B5EF4-FFF2-40B4-BE49-F238E27FC236}">
                <a16:creationId xmlns:a16="http://schemas.microsoft.com/office/drawing/2014/main" id="{C69E9608-240D-41B6-B8CC-5320FF60E85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111211" y="1681476"/>
            <a:ext cx="1805006" cy="1849271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27702"/>
            <a:ext cx="6480980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6484142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1" y="1073301"/>
            <a:ext cx="2550839" cy="3308200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FFEB2990-E2D8-4AF5-9FAF-A1127E1C12A7}"/>
              </a:ext>
            </a:extLst>
          </p:cNvPr>
          <p:cNvSpPr txBox="1"/>
          <p:nvPr userDrawn="1"/>
        </p:nvSpPr>
        <p:spPr>
          <a:xfrm>
            <a:off x="967923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12B20D-7ABF-4420-B33F-8F7B126A1388}"/>
              </a:ext>
            </a:extLst>
          </p:cNvPr>
          <p:cNvGrpSpPr/>
          <p:nvPr userDrawn="1"/>
        </p:nvGrpSpPr>
        <p:grpSpPr>
          <a:xfrm flipH="1">
            <a:off x="9219400" y="581025"/>
            <a:ext cx="144016" cy="4562475"/>
            <a:chOff x="-252536" y="-197952"/>
            <a:chExt cx="144016" cy="4562475"/>
          </a:xfrm>
        </p:grpSpPr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4B146F83-84C9-4372-86FB-2FA1E9B1895B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95970E89-E453-4CA2-9051-90BE81E7DD5A}"/>
                </a:ext>
              </a:extLst>
            </p:cNvPr>
            <p:cNvCxnSpPr/>
            <p:nvPr userDrawn="1"/>
          </p:nvCxnSpPr>
          <p:spPr>
            <a:xfrm flipH="1">
              <a:off x="-252536" y="134268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Image 23">
            <a:extLst>
              <a:ext uri="{FF2B5EF4-FFF2-40B4-BE49-F238E27FC236}">
                <a16:creationId xmlns:a16="http://schemas.microsoft.com/office/drawing/2014/main" id="{566F9AD5-D8EE-446D-8986-E2A0EBBAFA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4800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6" name="Espace réservé pour une image  29">
            <a:extLst>
              <a:ext uri="{FF2B5EF4-FFF2-40B4-BE49-F238E27FC236}">
                <a16:creationId xmlns:a16="http://schemas.microsoft.com/office/drawing/2014/main" id="{32681C02-AD0F-4FD7-A2A9-FE40A5E31BF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049549" y="1681476"/>
            <a:ext cx="1805006" cy="1849271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7" name="Espace réservé pour une image  29">
            <a:extLst>
              <a:ext uri="{FF2B5EF4-FFF2-40B4-BE49-F238E27FC236}">
                <a16:creationId xmlns:a16="http://schemas.microsoft.com/office/drawing/2014/main" id="{3F567498-CD75-42E9-89CD-468F7D7F4D8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987886" y="1681476"/>
            <a:ext cx="1805006" cy="1849271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218000AB-9E6A-4EF0-AAAC-42779BD38EEE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5C08013-4BD4-49BD-A878-B82E562FA164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438324081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3 petite image et légen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27702"/>
            <a:ext cx="6480980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6484142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1" y="1073301"/>
            <a:ext cx="2550839" cy="3316952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940D89D-15D8-41E6-B3DB-0B06FEBFE28C}"/>
              </a:ext>
            </a:extLst>
          </p:cNvPr>
          <p:cNvSpPr txBox="1"/>
          <p:nvPr userDrawn="1"/>
        </p:nvSpPr>
        <p:spPr>
          <a:xfrm>
            <a:off x="967923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D3E04D2F-D485-41EE-B7FB-0426DE9FBB0F}"/>
              </a:ext>
            </a:extLst>
          </p:cNvPr>
          <p:cNvGrpSpPr/>
          <p:nvPr userDrawn="1"/>
        </p:nvGrpSpPr>
        <p:grpSpPr>
          <a:xfrm flipH="1">
            <a:off x="9219400" y="581025"/>
            <a:ext cx="144016" cy="4562475"/>
            <a:chOff x="-252536" y="-197952"/>
            <a:chExt cx="144016" cy="4562475"/>
          </a:xfrm>
        </p:grpSpPr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id="{74506B10-53F1-4F63-990A-F084EF79B7E4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>
              <a:extLst>
                <a:ext uri="{FF2B5EF4-FFF2-40B4-BE49-F238E27FC236}">
                  <a16:creationId xmlns:a16="http://schemas.microsoft.com/office/drawing/2014/main" id="{C7DAE91A-3706-445E-ACA1-36C74EF45C45}"/>
                </a:ext>
              </a:extLst>
            </p:cNvPr>
            <p:cNvCxnSpPr/>
            <p:nvPr userDrawn="1"/>
          </p:nvCxnSpPr>
          <p:spPr>
            <a:xfrm flipH="1">
              <a:off x="-252536" y="134268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5" name="Image 34">
            <a:extLst>
              <a:ext uri="{FF2B5EF4-FFF2-40B4-BE49-F238E27FC236}">
                <a16:creationId xmlns:a16="http://schemas.microsoft.com/office/drawing/2014/main" id="{FBD001A7-A257-4542-BDF2-993FAE4FB4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4800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2" name="Espace réservé du texte 13">
            <a:extLst>
              <a:ext uri="{FF2B5EF4-FFF2-40B4-BE49-F238E27FC236}">
                <a16:creationId xmlns:a16="http://schemas.microsoft.com/office/drawing/2014/main" id="{9AF1EBF6-8E41-478E-9588-0A0DD443DE4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3111211" y="2773134"/>
            <a:ext cx="1803600" cy="1598627"/>
          </a:xfrm>
          <a:prstGeom prst="roundRect">
            <a:avLst>
              <a:gd name="adj" fmla="val 6210"/>
            </a:avLst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4" name="Espace réservé du texte 13">
            <a:extLst>
              <a:ext uri="{FF2B5EF4-FFF2-40B4-BE49-F238E27FC236}">
                <a16:creationId xmlns:a16="http://schemas.microsoft.com/office/drawing/2014/main" id="{54D442C3-D1F8-42E5-B0B7-B654DE3D1AB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049549" y="2773134"/>
            <a:ext cx="1803600" cy="1598627"/>
          </a:xfrm>
          <a:prstGeom prst="roundRect">
            <a:avLst>
              <a:gd name="adj" fmla="val 6210"/>
            </a:avLst>
          </a:pr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2F239F8A-2156-4C09-9C8B-16D640453DA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987886" y="2773134"/>
            <a:ext cx="1803600" cy="1598627"/>
          </a:xfrm>
          <a:prstGeom prst="roundRect">
            <a:avLst>
              <a:gd name="adj" fmla="val 6210"/>
            </a:avLst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36" name="Espace réservé pour une image  29">
            <a:extLst>
              <a:ext uri="{FF2B5EF4-FFF2-40B4-BE49-F238E27FC236}">
                <a16:creationId xmlns:a16="http://schemas.microsoft.com/office/drawing/2014/main" id="{0CF5A688-CCE0-4744-BFCF-FC85CA3F54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111211" y="1076325"/>
            <a:ext cx="1800000" cy="1626364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7" name="Espace réservé pour une image  29">
            <a:extLst>
              <a:ext uri="{FF2B5EF4-FFF2-40B4-BE49-F238E27FC236}">
                <a16:creationId xmlns:a16="http://schemas.microsoft.com/office/drawing/2014/main" id="{B89D013C-BBB1-4EEC-A849-5D50D8613B01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049549" y="1076325"/>
            <a:ext cx="1800000" cy="1626364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8" name="Espace réservé pour une image  29">
            <a:extLst>
              <a:ext uri="{FF2B5EF4-FFF2-40B4-BE49-F238E27FC236}">
                <a16:creationId xmlns:a16="http://schemas.microsoft.com/office/drawing/2014/main" id="{2D27F026-7043-48E0-9432-12CF8E6885FB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991598" y="1076325"/>
            <a:ext cx="1800000" cy="1626364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DDDC3B1-6151-4BE1-88BE-AB68682F5435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ABF0606-7F2E-4F57-B83A-456666DCD06B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92878584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option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que 6">
            <a:extLst>
              <a:ext uri="{FF2B5EF4-FFF2-40B4-BE49-F238E27FC236}">
                <a16:creationId xmlns:a16="http://schemas.microsoft.com/office/drawing/2014/main" id="{E0A037EE-2D06-3A37-A640-1C9B0455460F}"/>
              </a:ext>
            </a:extLst>
          </p:cNvPr>
          <p:cNvSpPr/>
          <p:nvPr/>
        </p:nvSpPr>
        <p:spPr>
          <a:xfrm>
            <a:off x="5295418" y="835541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50000">
                <a:schemeClr val="tx1"/>
              </a:gs>
              <a:gs pos="25000">
                <a:schemeClr val="bg2"/>
              </a:gs>
              <a:gs pos="75000">
                <a:schemeClr val="accent4"/>
              </a:gs>
              <a:gs pos="100000">
                <a:schemeClr val="accent5"/>
              </a:gs>
            </a:gsLst>
            <a:lin ang="0" scaled="0"/>
          </a:gra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fr-FR" dirty="0"/>
          </a:p>
        </p:txBody>
      </p:sp>
      <p:sp>
        <p:nvSpPr>
          <p:cNvPr id="22" name="Graphique 6">
            <a:extLst>
              <a:ext uri="{FF2B5EF4-FFF2-40B4-BE49-F238E27FC236}">
                <a16:creationId xmlns:a16="http://schemas.microsoft.com/office/drawing/2014/main" id="{B713A0F4-CAFE-C918-36F2-8C5E96539E15}"/>
              </a:ext>
            </a:extLst>
          </p:cNvPr>
          <p:cNvSpPr/>
          <p:nvPr userDrawn="1"/>
        </p:nvSpPr>
        <p:spPr>
          <a:xfrm>
            <a:off x="4994476" y="604047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solidFill>
            <a:srgbClr val="FFFFFF"/>
          </a:soli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7DF1ECAD-5FBE-4A81-939A-22479C884F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418" y="1525027"/>
            <a:ext cx="2974693" cy="615553"/>
          </a:xfrm>
        </p:spPr>
        <p:txBody>
          <a:bodyPr anchor="b"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000" b="1" kern="1200" cap="all" baseline="0" noProof="0" dirty="0">
                <a:gradFill>
                  <a:gsLst>
                    <a:gs pos="0">
                      <a:schemeClr val="tx2"/>
                    </a:gs>
                    <a:gs pos="50000">
                      <a:schemeClr val="tx1"/>
                    </a:gs>
                    <a:gs pos="25000">
                      <a:schemeClr val="bg2"/>
                    </a:gs>
                    <a:gs pos="75000">
                      <a:schemeClr val="accent4"/>
                    </a:gs>
                    <a:gs pos="100000">
                      <a:schemeClr val="accent5"/>
                    </a:gs>
                  </a:gsLst>
                  <a:lin ang="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2451FC70-2CFA-417D-AE0B-CF2ABAE2CB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95418" y="2255640"/>
            <a:ext cx="2974693" cy="956952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2" name="SG logo SVG 2023">
            <a:extLst>
              <a:ext uri="{FF2B5EF4-FFF2-40B4-BE49-F238E27FC236}">
                <a16:creationId xmlns:a16="http://schemas.microsoft.com/office/drawing/2014/main" id="{F9B38395-5EA8-ECEC-D2C7-172DF102D0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8839" y="330504"/>
            <a:ext cx="1286121" cy="53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18361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5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4 petites imag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8430172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0" y="1073301"/>
            <a:ext cx="4944754" cy="3316952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2B43591-22FA-4AF6-8842-E9EEEB4686CB}"/>
              </a:ext>
            </a:extLst>
          </p:cNvPr>
          <p:cNvSpPr txBox="1"/>
          <p:nvPr userDrawn="1"/>
        </p:nvSpPr>
        <p:spPr>
          <a:xfrm>
            <a:off x="967923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A2EC4009-2F14-46C1-833E-78E070DC0E1C}"/>
              </a:ext>
            </a:extLst>
          </p:cNvPr>
          <p:cNvGrpSpPr/>
          <p:nvPr userDrawn="1"/>
        </p:nvGrpSpPr>
        <p:grpSpPr>
          <a:xfrm flipH="1">
            <a:off x="9219400" y="581025"/>
            <a:ext cx="144016" cy="4562475"/>
            <a:chOff x="-252536" y="-197952"/>
            <a:chExt cx="144016" cy="45624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961F086A-5B6D-4781-A664-27815A966C28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2994A43E-B674-473E-862C-C33ED9D1765C}"/>
                </a:ext>
              </a:extLst>
            </p:cNvPr>
            <p:cNvCxnSpPr/>
            <p:nvPr userDrawn="1"/>
          </p:nvCxnSpPr>
          <p:spPr>
            <a:xfrm flipH="1">
              <a:off x="-252536" y="134268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Image 21">
            <a:extLst>
              <a:ext uri="{FF2B5EF4-FFF2-40B4-BE49-F238E27FC236}">
                <a16:creationId xmlns:a16="http://schemas.microsoft.com/office/drawing/2014/main" id="{1C7DC06C-B7B5-4AC0-81B7-DB0A01252B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4800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3" name="Titre 4">
            <a:extLst>
              <a:ext uri="{FF2B5EF4-FFF2-40B4-BE49-F238E27FC236}">
                <a16:creationId xmlns:a16="http://schemas.microsoft.com/office/drawing/2014/main" id="{471967F2-0675-4574-BFB0-698C2C9C02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33163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24" name="Espace réservé pour une image  29">
            <a:extLst>
              <a:ext uri="{FF2B5EF4-FFF2-40B4-BE49-F238E27FC236}">
                <a16:creationId xmlns:a16="http://schemas.microsoft.com/office/drawing/2014/main" id="{47F24A2D-8AE3-47B5-9656-6A21C5BE59B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400000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5" name="Espace réservé pour une image  29">
            <a:extLst>
              <a:ext uri="{FF2B5EF4-FFF2-40B4-BE49-F238E27FC236}">
                <a16:creationId xmlns:a16="http://schemas.microsoft.com/office/drawing/2014/main" id="{EC0C171E-4D06-4812-A4BC-FB9192ED32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400000" y="275789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6" name="Espace réservé pour une image  29">
            <a:extLst>
              <a:ext uri="{FF2B5EF4-FFF2-40B4-BE49-F238E27FC236}">
                <a16:creationId xmlns:a16="http://schemas.microsoft.com/office/drawing/2014/main" id="{F19AC258-F791-41C5-BFE3-96D0F260F3CD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143905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7" name="Espace réservé pour une image  29">
            <a:extLst>
              <a:ext uri="{FF2B5EF4-FFF2-40B4-BE49-F238E27FC236}">
                <a16:creationId xmlns:a16="http://schemas.microsoft.com/office/drawing/2014/main" id="{50B829D7-D08E-40A3-9638-0B00425DBA1B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7143905" y="275789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23DD3769-39E0-4FF3-956B-BA7D7B714ACE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64A63FE-B461-4226-9F56-085B1A61D7F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928652868"/>
      </p:ext>
    </p:extLst>
  </p:cSld>
  <p:clrMapOvr>
    <a:masterClrMapping/>
  </p:clrMapOvr>
  <p:transition spd="slow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2 petites images +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27702"/>
            <a:ext cx="8431968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8436082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0000" y="1073301"/>
            <a:ext cx="4923843" cy="3316952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52C50507-F78D-42CD-8378-7A0ABF5B6266}"/>
              </a:ext>
            </a:extLst>
          </p:cNvPr>
          <p:cNvSpPr txBox="1"/>
          <p:nvPr userDrawn="1"/>
        </p:nvSpPr>
        <p:spPr>
          <a:xfrm>
            <a:off x="967923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F5B02FD2-C55A-44D7-8267-B24F2FE9A6C5}"/>
              </a:ext>
            </a:extLst>
          </p:cNvPr>
          <p:cNvGrpSpPr/>
          <p:nvPr userDrawn="1"/>
        </p:nvGrpSpPr>
        <p:grpSpPr>
          <a:xfrm flipH="1">
            <a:off x="9219400" y="581025"/>
            <a:ext cx="144016" cy="4562475"/>
            <a:chOff x="-252536" y="-197952"/>
            <a:chExt cx="144016" cy="4562475"/>
          </a:xfrm>
        </p:grpSpPr>
        <p:cxnSp>
          <p:nvCxnSpPr>
            <p:cNvPr id="22" name="Connecteur droit 21">
              <a:extLst>
                <a:ext uri="{FF2B5EF4-FFF2-40B4-BE49-F238E27FC236}">
                  <a16:creationId xmlns:a16="http://schemas.microsoft.com/office/drawing/2014/main" id="{6572DAE0-C4DC-491E-A886-3EE840E908D5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9D435141-6281-4CB8-935C-F4C8B28C5132}"/>
                </a:ext>
              </a:extLst>
            </p:cNvPr>
            <p:cNvCxnSpPr/>
            <p:nvPr userDrawn="1"/>
          </p:nvCxnSpPr>
          <p:spPr>
            <a:xfrm flipH="1">
              <a:off x="-252536" y="134268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Image 23">
            <a:extLst>
              <a:ext uri="{FF2B5EF4-FFF2-40B4-BE49-F238E27FC236}">
                <a16:creationId xmlns:a16="http://schemas.microsoft.com/office/drawing/2014/main" id="{1CD18464-9CD8-4FF0-B2F8-F5BF017F11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4800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5" name="Espace réservé pour une image  29">
            <a:extLst>
              <a:ext uri="{FF2B5EF4-FFF2-40B4-BE49-F238E27FC236}">
                <a16:creationId xmlns:a16="http://schemas.microsoft.com/office/drawing/2014/main" id="{8007CE0E-000C-4B0C-BC4A-97ED98BEFD8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400000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6" name="Espace réservé pour une image  29">
            <a:extLst>
              <a:ext uri="{FF2B5EF4-FFF2-40B4-BE49-F238E27FC236}">
                <a16:creationId xmlns:a16="http://schemas.microsoft.com/office/drawing/2014/main" id="{D79861F4-050F-472B-8EE5-735029F5342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7143905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16FBA96D-C97F-4375-ABF8-D51C7561F81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00000" y="2757900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4F7CC4EF-BCEE-489C-9FC1-35FB73D41C0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143906" y="2757900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CDD46300-AC69-480F-8F74-9BAD7EF17AC8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C9864D4-A1DF-4014-9C91-62BFB27EBE5D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25429041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etites images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29051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999" y="654998"/>
            <a:ext cx="8433163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9E37E46B-A015-4F6F-A43F-B4499A62F2D3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oupe 51">
            <a:extLst>
              <a:ext uri="{FF2B5EF4-FFF2-40B4-BE49-F238E27FC236}">
                <a16:creationId xmlns:a16="http://schemas.microsoft.com/office/drawing/2014/main" id="{242550B6-20BF-4B7D-BE86-A57608874007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53" name="Connecteur droit 52">
              <a:extLst>
                <a:ext uri="{FF2B5EF4-FFF2-40B4-BE49-F238E27FC236}">
                  <a16:creationId xmlns:a16="http://schemas.microsoft.com/office/drawing/2014/main" id="{FF09EC4E-BAB6-4850-B996-1B078D0961FE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eur droit 53">
              <a:extLst>
                <a:ext uri="{FF2B5EF4-FFF2-40B4-BE49-F238E27FC236}">
                  <a16:creationId xmlns:a16="http://schemas.microsoft.com/office/drawing/2014/main" id="{5DACF023-ED39-4B11-8FE6-9748A415CB15}"/>
                </a:ext>
              </a:extLst>
            </p:cNvPr>
            <p:cNvCxnSpPr/>
            <p:nvPr userDrawn="1"/>
          </p:nvCxnSpPr>
          <p:spPr>
            <a:xfrm flipH="1">
              <a:off x="-252536" y="124005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195E1888-A9FE-4984-8EEC-E22E24E925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916679" y="1073301"/>
            <a:ext cx="4876483" cy="3310386"/>
          </a:xfrm>
        </p:spPr>
        <p:txBody>
          <a:bodyPr/>
          <a:lstStyle/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</p:txBody>
      </p:sp>
      <p:sp>
        <p:nvSpPr>
          <p:cNvPr id="16" name="Espace réservé pour une image  29">
            <a:extLst>
              <a:ext uri="{FF2B5EF4-FFF2-40B4-BE49-F238E27FC236}">
                <a16:creationId xmlns:a16="http://schemas.microsoft.com/office/drawing/2014/main" id="{72B9D86B-55E9-4510-A2FC-6AD1CADB16C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60597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18" name="Espace réservé pour une image  29">
            <a:extLst>
              <a:ext uri="{FF2B5EF4-FFF2-40B4-BE49-F238E27FC236}">
                <a16:creationId xmlns:a16="http://schemas.microsoft.com/office/drawing/2014/main" id="{9A0BFCA9-B39A-4577-B895-1037D7BD9A2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60597" y="2763687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0" name="Espace réservé pour une image  29">
            <a:extLst>
              <a:ext uri="{FF2B5EF4-FFF2-40B4-BE49-F238E27FC236}">
                <a16:creationId xmlns:a16="http://schemas.microsoft.com/office/drawing/2014/main" id="{9E8F8B4D-DCC2-4318-BC66-E2EEFE51553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2104502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1" name="Espace réservé pour une image  29">
            <a:extLst>
              <a:ext uri="{FF2B5EF4-FFF2-40B4-BE49-F238E27FC236}">
                <a16:creationId xmlns:a16="http://schemas.microsoft.com/office/drawing/2014/main" id="{3E1A8B72-B27C-48FA-B068-CEB08896D5C5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104502" y="2763687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808471D1-B89D-4624-8218-100DE88D1286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76C457-8B8C-4707-8D9A-C9BD8A44F7D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627376752"/>
      </p:ext>
    </p:extLst>
  </p:cSld>
  <p:clrMapOvr>
    <a:masterClrMapping/>
  </p:clrMapOvr>
  <p:transition spd="slow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etites images + légend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29051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999" y="654998"/>
            <a:ext cx="8433163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5E99D7D-C7A7-406F-936D-94453217CBDB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208C8471-3FD4-4E50-B463-AD2192B76E0E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2" name="Connecteur droit 21">
              <a:extLst>
                <a:ext uri="{FF2B5EF4-FFF2-40B4-BE49-F238E27FC236}">
                  <a16:creationId xmlns:a16="http://schemas.microsoft.com/office/drawing/2014/main" id="{CB451E30-336A-4EF5-AC4E-C848C3556C45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72DF5CB5-83E8-4D1D-A24E-98A082326836}"/>
                </a:ext>
              </a:extLst>
            </p:cNvPr>
            <p:cNvCxnSpPr/>
            <p:nvPr userDrawn="1"/>
          </p:nvCxnSpPr>
          <p:spPr>
            <a:xfrm flipH="1">
              <a:off x="-252536" y="124005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Image 23">
            <a:extLst>
              <a:ext uri="{FF2B5EF4-FFF2-40B4-BE49-F238E27FC236}">
                <a16:creationId xmlns:a16="http://schemas.microsoft.com/office/drawing/2014/main" id="{6AE1891A-E821-45D4-AA3F-357C445AF6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5" name="Espace réservé pour une image  29">
            <a:extLst>
              <a:ext uri="{FF2B5EF4-FFF2-40B4-BE49-F238E27FC236}">
                <a16:creationId xmlns:a16="http://schemas.microsoft.com/office/drawing/2014/main" id="{2BB9F3EC-5F0B-4A35-B2B6-D86D75948E6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60597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6" name="Espace réservé pour une image  29">
            <a:extLst>
              <a:ext uri="{FF2B5EF4-FFF2-40B4-BE49-F238E27FC236}">
                <a16:creationId xmlns:a16="http://schemas.microsoft.com/office/drawing/2014/main" id="{16BCD4BB-6AE6-4051-AC7D-89579A28186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104502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DAD588E3-E84D-468D-B8B8-8073141BB4B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60597" y="2757902"/>
            <a:ext cx="1648660" cy="1620000"/>
          </a:xfrm>
          <a:prstGeom prst="roundRect">
            <a:avLst>
              <a:gd name="adj" fmla="val 6210"/>
            </a:avLst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  <a:tileRect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DF3B5743-B183-49C9-B504-5AA77DFB6CF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104503" y="2757902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id="{7FDAF0EB-F1BD-42A2-92E6-75748C250F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916679" y="1073301"/>
            <a:ext cx="4876483" cy="3308199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8785C80-2D55-46A4-BDEF-F096AA4FAAA8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0831B84-A0B9-4D34-99F7-D904F97E44D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978495348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2x2 petites imag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29051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999" y="654998"/>
            <a:ext cx="8433163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155" y="1073301"/>
            <a:ext cx="5037525" cy="3316952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A084F3B4-9C4B-4542-9BE5-61533AC13B77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E67CAAF8-2F23-49FF-9FE7-FEDC3ED84CB8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7894B58C-7B35-49FE-BEB9-67BF1892DFCC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6939BAA2-5948-460F-A80B-FE887A1AD1AC}"/>
                </a:ext>
              </a:extLst>
            </p:cNvPr>
            <p:cNvCxnSpPr/>
            <p:nvPr userDrawn="1"/>
          </p:nvCxnSpPr>
          <p:spPr>
            <a:xfrm flipH="1">
              <a:off x="-252536" y="124005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Image 21">
            <a:extLst>
              <a:ext uri="{FF2B5EF4-FFF2-40B4-BE49-F238E27FC236}">
                <a16:creationId xmlns:a16="http://schemas.microsoft.com/office/drawing/2014/main" id="{8B4F545F-8C0D-4561-B606-64DDA332B3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3" name="Espace réservé pour une image  29">
            <a:extLst>
              <a:ext uri="{FF2B5EF4-FFF2-40B4-BE49-F238E27FC236}">
                <a16:creationId xmlns:a16="http://schemas.microsoft.com/office/drawing/2014/main" id="{4EADCD03-814D-4735-9A09-0B0FB5035D9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60597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4" name="Espace réservé pour une image  29">
            <a:extLst>
              <a:ext uri="{FF2B5EF4-FFF2-40B4-BE49-F238E27FC236}">
                <a16:creationId xmlns:a16="http://schemas.microsoft.com/office/drawing/2014/main" id="{27AB527A-342A-4EF3-B759-CADA1003017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60597" y="2763688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5" name="Espace réservé pour une image  29">
            <a:extLst>
              <a:ext uri="{FF2B5EF4-FFF2-40B4-BE49-F238E27FC236}">
                <a16:creationId xmlns:a16="http://schemas.microsoft.com/office/drawing/2014/main" id="{1386975C-B873-4098-AF7B-E9D9F8F13641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144501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6" name="Espace réservé pour une image  29">
            <a:extLst>
              <a:ext uri="{FF2B5EF4-FFF2-40B4-BE49-F238E27FC236}">
                <a16:creationId xmlns:a16="http://schemas.microsoft.com/office/drawing/2014/main" id="{C0DE3218-156F-4A12-B04C-DF97662EBBA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7144501" y="2763688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DB1B6AE5-3FD7-4924-B866-F4DACF6EB07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F798329-469F-44D2-8EC9-76B7940BB30B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661550179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2 petites images +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29051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999" y="654998"/>
            <a:ext cx="8433163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E6FB99C0-B98C-4E1A-9D4A-B92A70B5D3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155" y="1073301"/>
            <a:ext cx="5032446" cy="3308200"/>
          </a:xfrm>
        </p:spPr>
        <p:txBody>
          <a:bodyPr/>
          <a:lstStyle/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9F533BF6-D514-459D-9CD0-0014742AF5E9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3367DB2E-3C37-4A82-8177-2AAD710DA225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F4EF7344-53C0-458A-8505-90970AFC921D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565B0C33-B681-4D01-AC6F-B6BFC648EFC3}"/>
                </a:ext>
              </a:extLst>
            </p:cNvPr>
            <p:cNvCxnSpPr/>
            <p:nvPr userDrawn="1"/>
          </p:nvCxnSpPr>
          <p:spPr>
            <a:xfrm flipH="1">
              <a:off x="-252536" y="124005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Image 28">
            <a:extLst>
              <a:ext uri="{FF2B5EF4-FFF2-40B4-BE49-F238E27FC236}">
                <a16:creationId xmlns:a16="http://schemas.microsoft.com/office/drawing/2014/main" id="{244DFE2D-60C4-4131-8465-C5969D771F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8" name="Espace réservé pour une image  29">
            <a:extLst>
              <a:ext uri="{FF2B5EF4-FFF2-40B4-BE49-F238E27FC236}">
                <a16:creationId xmlns:a16="http://schemas.microsoft.com/office/drawing/2014/main" id="{81101FB9-9955-4F5E-B5AE-8B1D6B9D33C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52425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0" name="Espace réservé du texte 13">
            <a:extLst>
              <a:ext uri="{FF2B5EF4-FFF2-40B4-BE49-F238E27FC236}">
                <a16:creationId xmlns:a16="http://schemas.microsoft.com/office/drawing/2014/main" id="{0232180B-2F37-4B34-B19F-C9BB5EA69378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52426" y="2763689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1" name="Espace réservé pour une image  29">
            <a:extLst>
              <a:ext uri="{FF2B5EF4-FFF2-40B4-BE49-F238E27FC236}">
                <a16:creationId xmlns:a16="http://schemas.microsoft.com/office/drawing/2014/main" id="{D9B49EBB-009A-4E9C-A66D-4D6B42AB9254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143905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2" name="Espace réservé du texte 13">
            <a:extLst>
              <a:ext uri="{FF2B5EF4-FFF2-40B4-BE49-F238E27FC236}">
                <a16:creationId xmlns:a16="http://schemas.microsoft.com/office/drawing/2014/main" id="{EFBCB27F-F099-40B8-B652-4E5A44B914A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143906" y="2763689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0ADCE58-C192-4340-BB26-CE5718353852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D90CFA-C413-4343-B4F0-207C00D9DD58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441444604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etites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29051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999" y="654998"/>
            <a:ext cx="8433163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3083D504-1F4A-418B-871C-712702DC939B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104AB0F8-7147-4717-92FB-E946612AE522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DF2EF40B-3487-4F0C-88AD-523F301FF813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5916D0A3-039C-4313-9BCC-5CEA30283129}"/>
                </a:ext>
              </a:extLst>
            </p:cNvPr>
            <p:cNvCxnSpPr/>
            <p:nvPr userDrawn="1"/>
          </p:nvCxnSpPr>
          <p:spPr>
            <a:xfrm flipH="1">
              <a:off x="-252536" y="124005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Image 26">
            <a:extLst>
              <a:ext uri="{FF2B5EF4-FFF2-40B4-BE49-F238E27FC236}">
                <a16:creationId xmlns:a16="http://schemas.microsoft.com/office/drawing/2014/main" id="{E7D0531D-FF8C-4744-8704-E1D610D893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2" name="Espace réservé pour une image  29">
            <a:extLst>
              <a:ext uri="{FF2B5EF4-FFF2-40B4-BE49-F238E27FC236}">
                <a16:creationId xmlns:a16="http://schemas.microsoft.com/office/drawing/2014/main" id="{9311375C-0EDC-48BF-990F-8F9A0613855F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1090391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8" name="Espace réservé pour une image  29">
            <a:extLst>
              <a:ext uri="{FF2B5EF4-FFF2-40B4-BE49-F238E27FC236}">
                <a16:creationId xmlns:a16="http://schemas.microsoft.com/office/drawing/2014/main" id="{E3581938-84E0-4C7C-9487-D7BD64B1E49B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090391" y="2763689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9" name="Espace réservé pour une image  29">
            <a:extLst>
              <a:ext uri="{FF2B5EF4-FFF2-40B4-BE49-F238E27FC236}">
                <a16:creationId xmlns:a16="http://schemas.microsoft.com/office/drawing/2014/main" id="{9064B463-67A1-42DF-B89D-60D9CD0134C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865216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1" name="Espace réservé pour une image  29">
            <a:extLst>
              <a:ext uri="{FF2B5EF4-FFF2-40B4-BE49-F238E27FC236}">
                <a16:creationId xmlns:a16="http://schemas.microsoft.com/office/drawing/2014/main" id="{EFEF56CB-DE9B-4289-BD8B-8EA272911734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865216" y="2763689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2" name="Espace réservé pour une image  29">
            <a:extLst>
              <a:ext uri="{FF2B5EF4-FFF2-40B4-BE49-F238E27FC236}">
                <a16:creationId xmlns:a16="http://schemas.microsoft.com/office/drawing/2014/main" id="{44BD0FDC-99B1-467A-A9F7-B4A2F4510E57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640041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3" name="Espace réservé pour une image  29">
            <a:extLst>
              <a:ext uri="{FF2B5EF4-FFF2-40B4-BE49-F238E27FC236}">
                <a16:creationId xmlns:a16="http://schemas.microsoft.com/office/drawing/2014/main" id="{24ABE765-90D2-4E15-A15E-59F4455F7314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4640041" y="2763689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4" name="Espace réservé pour une image  29">
            <a:extLst>
              <a:ext uri="{FF2B5EF4-FFF2-40B4-BE49-F238E27FC236}">
                <a16:creationId xmlns:a16="http://schemas.microsoft.com/office/drawing/2014/main" id="{3E5B4545-5C6E-49A3-B6E4-1F254637B47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6414866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5" name="Espace réservé pour une image  29">
            <a:extLst>
              <a:ext uri="{FF2B5EF4-FFF2-40B4-BE49-F238E27FC236}">
                <a16:creationId xmlns:a16="http://schemas.microsoft.com/office/drawing/2014/main" id="{7F24CE69-89E9-4F8F-886A-75FC3607AE5F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414866" y="2763689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5B128C33-E9D3-46E9-B38E-A39286256987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A02B-9D29-444B-85E1-7D530E0C7F95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172010542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etites images + légen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29051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999" y="654998"/>
            <a:ext cx="8433163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F816EFD-F3F0-41A8-BC7C-5D09CA1F8491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15DC36D9-1CED-4C8E-9841-9D673AC4A1A9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3A7CA5CA-E8F0-4BDC-8808-2FF0B040B6FE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>
              <a:extLst>
                <a:ext uri="{FF2B5EF4-FFF2-40B4-BE49-F238E27FC236}">
                  <a16:creationId xmlns:a16="http://schemas.microsoft.com/office/drawing/2014/main" id="{5F7DD913-BFE6-469F-B2CF-30346936C701}"/>
                </a:ext>
              </a:extLst>
            </p:cNvPr>
            <p:cNvCxnSpPr/>
            <p:nvPr userDrawn="1"/>
          </p:nvCxnSpPr>
          <p:spPr>
            <a:xfrm flipH="1">
              <a:off x="-252536" y="124005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Image 30">
            <a:extLst>
              <a:ext uri="{FF2B5EF4-FFF2-40B4-BE49-F238E27FC236}">
                <a16:creationId xmlns:a16="http://schemas.microsoft.com/office/drawing/2014/main" id="{F19BFA9D-F6AD-4F60-9DB1-0D659A5ED7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1" name="Espace réservé pour une image  29">
            <a:extLst>
              <a:ext uri="{FF2B5EF4-FFF2-40B4-BE49-F238E27FC236}">
                <a16:creationId xmlns:a16="http://schemas.microsoft.com/office/drawing/2014/main" id="{BC2C6B14-6FC0-4582-B246-C6D808310F7C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090391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2" name="Espace réservé pour une image  29">
            <a:extLst>
              <a:ext uri="{FF2B5EF4-FFF2-40B4-BE49-F238E27FC236}">
                <a16:creationId xmlns:a16="http://schemas.microsoft.com/office/drawing/2014/main" id="{A3306B47-C7A5-44C5-96F6-F9398D9BCF8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2865216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3" name="Espace réservé pour une image  29">
            <a:extLst>
              <a:ext uri="{FF2B5EF4-FFF2-40B4-BE49-F238E27FC236}">
                <a16:creationId xmlns:a16="http://schemas.microsoft.com/office/drawing/2014/main" id="{B1860C56-31B6-4FF5-8419-3A86DD81F309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640041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4" name="Espace réservé pour une image  29">
            <a:extLst>
              <a:ext uri="{FF2B5EF4-FFF2-40B4-BE49-F238E27FC236}">
                <a16:creationId xmlns:a16="http://schemas.microsoft.com/office/drawing/2014/main" id="{C632460F-9BE6-4B5E-86B8-09B5EA498500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414866" y="1076325"/>
            <a:ext cx="1648661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5" name="Espace réservé du texte 13">
            <a:extLst>
              <a:ext uri="{FF2B5EF4-FFF2-40B4-BE49-F238E27FC236}">
                <a16:creationId xmlns:a16="http://schemas.microsoft.com/office/drawing/2014/main" id="{DF4ACB7A-CF75-4E4F-84F4-AE315331478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90392" y="2763689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36" name="Espace réservé du texte 13">
            <a:extLst>
              <a:ext uri="{FF2B5EF4-FFF2-40B4-BE49-F238E27FC236}">
                <a16:creationId xmlns:a16="http://schemas.microsoft.com/office/drawing/2014/main" id="{7FD1F1C8-8876-4441-A9DB-AEEE0CA1B95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865217" y="2763689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3pPr>
          </a:lstStyle>
          <a:p>
            <a:pPr lvl="0">
              <a:lnSpc>
                <a:spcPct val="100000"/>
              </a:lnSpc>
              <a:buClr>
                <a:schemeClr val="bg1"/>
              </a:buClr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37" name="Espace réservé du texte 13">
            <a:extLst>
              <a:ext uri="{FF2B5EF4-FFF2-40B4-BE49-F238E27FC236}">
                <a16:creationId xmlns:a16="http://schemas.microsoft.com/office/drawing/2014/main" id="{23071633-0F2F-4F6F-AD30-7CE45FD83C2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640042" y="2763689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3pPr>
          </a:lstStyle>
          <a:p>
            <a:pPr lvl="0">
              <a:lnSpc>
                <a:spcPct val="100000"/>
              </a:lnSpc>
              <a:buClr>
                <a:schemeClr val="bg1"/>
              </a:buClr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38" name="Espace réservé du texte 13">
            <a:extLst>
              <a:ext uri="{FF2B5EF4-FFF2-40B4-BE49-F238E27FC236}">
                <a16:creationId xmlns:a16="http://schemas.microsoft.com/office/drawing/2014/main" id="{6C74B745-2F10-421A-8BE2-686D2AB1967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414867" y="2763689"/>
            <a:ext cx="1648660" cy="1620000"/>
          </a:xfrm>
          <a:prstGeom prst="roundRect">
            <a:avLst>
              <a:gd name="adj" fmla="val 6210"/>
            </a:avLst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</p:spPr>
        <p:txBody>
          <a:bodyPr vert="horz" wrap="square" lIns="72000" tIns="144000" rIns="91440" bIns="360000" rtlCol="0">
            <a:normAutofit/>
          </a:bodyPr>
          <a:lstStyle>
            <a:lvl1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3pPr>
          </a:lstStyle>
          <a:p>
            <a:pPr lvl="0">
              <a:lnSpc>
                <a:spcPct val="100000"/>
              </a:lnSpc>
              <a:buClr>
                <a:schemeClr val="bg1"/>
              </a:buClr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654336A-1512-4701-B9A7-2CDB56E45ABE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324A90-385D-4766-A6EB-5A68E8FDCD93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340194437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8 petites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29051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999" y="654998"/>
            <a:ext cx="8433163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2" name="Espace réservé du texte 14">
            <a:extLst>
              <a:ext uri="{FF2B5EF4-FFF2-40B4-BE49-F238E27FC236}">
                <a16:creationId xmlns:a16="http://schemas.microsoft.com/office/drawing/2014/main" id="{98E094C3-78A5-4D87-825A-A23AAE8207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1297" y="1311276"/>
            <a:ext cx="1697408" cy="30789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5BD62875-319A-4ACA-B358-FD5408BBCD80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4018F210-084D-47D3-B5F0-0C63598A7A53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574A9DF5-25B4-4B2C-B61C-47904EDB98BF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0A923974-FCF6-4638-98EC-9127DAD9A6B9}"/>
                </a:ext>
              </a:extLst>
            </p:cNvPr>
            <p:cNvCxnSpPr/>
            <p:nvPr userDrawn="1"/>
          </p:nvCxnSpPr>
          <p:spPr>
            <a:xfrm flipH="1">
              <a:off x="-252536" y="124005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Image 26">
            <a:extLst>
              <a:ext uri="{FF2B5EF4-FFF2-40B4-BE49-F238E27FC236}">
                <a16:creationId xmlns:a16="http://schemas.microsoft.com/office/drawing/2014/main" id="{773EFDDC-7E09-4539-AA97-71CB072FF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8" name="Espace réservé pour une image  29">
            <a:extLst>
              <a:ext uri="{FF2B5EF4-FFF2-40B4-BE49-F238E27FC236}">
                <a16:creationId xmlns:a16="http://schemas.microsoft.com/office/drawing/2014/main" id="{10F2C225-A18F-4697-934F-FE6CA585AA8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184359" y="1076325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9" name="Espace réservé pour une image  29">
            <a:extLst>
              <a:ext uri="{FF2B5EF4-FFF2-40B4-BE49-F238E27FC236}">
                <a16:creationId xmlns:a16="http://schemas.microsoft.com/office/drawing/2014/main" id="{9C3C3598-BA73-415C-AB40-960E7AA9D1D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184359" y="275790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1" name="Espace réservé pour une image  29">
            <a:extLst>
              <a:ext uri="{FF2B5EF4-FFF2-40B4-BE49-F238E27FC236}">
                <a16:creationId xmlns:a16="http://schemas.microsoft.com/office/drawing/2014/main" id="{3A0EC615-80C5-4C44-B1DA-171AAC396F0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867807" y="1076325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2" name="Espace réservé pour une image  29">
            <a:extLst>
              <a:ext uri="{FF2B5EF4-FFF2-40B4-BE49-F238E27FC236}">
                <a16:creationId xmlns:a16="http://schemas.microsoft.com/office/drawing/2014/main" id="{E7401A36-5B9D-4825-8350-029D3D761D7D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867807" y="275790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3" name="Espace réservé pour une image  29">
            <a:extLst>
              <a:ext uri="{FF2B5EF4-FFF2-40B4-BE49-F238E27FC236}">
                <a16:creationId xmlns:a16="http://schemas.microsoft.com/office/drawing/2014/main" id="{F39CA9FD-232F-43B8-B7BA-B58BC92BE43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51255" y="1076325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4" name="Espace réservé pour une image  29">
            <a:extLst>
              <a:ext uri="{FF2B5EF4-FFF2-40B4-BE49-F238E27FC236}">
                <a16:creationId xmlns:a16="http://schemas.microsoft.com/office/drawing/2014/main" id="{C47E507A-A705-4F77-8C8A-2335632C5447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551255" y="275790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5" name="Espace réservé pour une image  29">
            <a:extLst>
              <a:ext uri="{FF2B5EF4-FFF2-40B4-BE49-F238E27FC236}">
                <a16:creationId xmlns:a16="http://schemas.microsoft.com/office/drawing/2014/main" id="{8D59D151-A167-4E49-98FB-D55692F1A45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7234703" y="1076325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6" name="Espace réservé pour une image  29">
            <a:extLst>
              <a:ext uri="{FF2B5EF4-FFF2-40B4-BE49-F238E27FC236}">
                <a16:creationId xmlns:a16="http://schemas.microsoft.com/office/drawing/2014/main" id="{28681F74-B183-40F9-8309-CA6FAD007732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234703" y="275790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5DD9911E-7400-4805-AF32-65C0A07C2DB8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98145D5-A630-4DA2-84FB-AD0774C3D901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818614182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petites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27702"/>
            <a:ext cx="8429051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999" y="654998"/>
            <a:ext cx="8433163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1ACA01E5-DEC7-4C69-9B2D-A19074F9992A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6809D23E-C993-4C10-913A-42A88ACD7AE6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4C86EA3B-EF2E-4A3D-9EB9-AED157307B38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1F29191-115E-4539-94D9-98E82F34A3DE}"/>
                </a:ext>
              </a:extLst>
            </p:cNvPr>
            <p:cNvCxnSpPr/>
            <p:nvPr userDrawn="1"/>
          </p:nvCxnSpPr>
          <p:spPr>
            <a:xfrm flipH="1">
              <a:off x="-252536" y="124005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8" name="Image 27">
            <a:extLst>
              <a:ext uri="{FF2B5EF4-FFF2-40B4-BE49-F238E27FC236}">
                <a16:creationId xmlns:a16="http://schemas.microsoft.com/office/drawing/2014/main" id="{32EF232A-FFDB-4E13-AB86-964B23F582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9" name="Espace réservé pour une image  29">
            <a:extLst>
              <a:ext uri="{FF2B5EF4-FFF2-40B4-BE49-F238E27FC236}">
                <a16:creationId xmlns:a16="http://schemas.microsoft.com/office/drawing/2014/main" id="{AD8D36F4-396C-4E23-BBB2-23C185AFEF02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59999" y="107659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1" name="Espace réservé pour une image  29">
            <a:extLst>
              <a:ext uri="{FF2B5EF4-FFF2-40B4-BE49-F238E27FC236}">
                <a16:creationId xmlns:a16="http://schemas.microsoft.com/office/drawing/2014/main" id="{75550596-B90B-4624-85ED-A6CEB5B4F09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359999" y="2763689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2" name="Espace réservé pour une image  29">
            <a:extLst>
              <a:ext uri="{FF2B5EF4-FFF2-40B4-BE49-F238E27FC236}">
                <a16:creationId xmlns:a16="http://schemas.microsoft.com/office/drawing/2014/main" id="{364F1E4E-0E50-4E76-A06B-45E5B853062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079785" y="107659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3" name="Espace réservé pour une image  29">
            <a:extLst>
              <a:ext uri="{FF2B5EF4-FFF2-40B4-BE49-F238E27FC236}">
                <a16:creationId xmlns:a16="http://schemas.microsoft.com/office/drawing/2014/main" id="{88A72B9C-ED61-4E85-961D-857139867F9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079785" y="2763689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4" name="Espace réservé pour une image  29">
            <a:extLst>
              <a:ext uri="{FF2B5EF4-FFF2-40B4-BE49-F238E27FC236}">
                <a16:creationId xmlns:a16="http://schemas.microsoft.com/office/drawing/2014/main" id="{368B32A2-6E86-4014-8AEC-0AAD79370C1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799571" y="107659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5" name="Espace réservé pour une image  29">
            <a:extLst>
              <a:ext uri="{FF2B5EF4-FFF2-40B4-BE49-F238E27FC236}">
                <a16:creationId xmlns:a16="http://schemas.microsoft.com/office/drawing/2014/main" id="{C5D8F0B8-5320-46AF-9FD1-2E484D7F315C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3799571" y="2763689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6" name="Espace réservé pour une image  29">
            <a:extLst>
              <a:ext uri="{FF2B5EF4-FFF2-40B4-BE49-F238E27FC236}">
                <a16:creationId xmlns:a16="http://schemas.microsoft.com/office/drawing/2014/main" id="{AEC4C9CB-BC44-49D3-8801-88DDFA07D0CC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519357" y="107659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7" name="Espace réservé pour une image  29">
            <a:extLst>
              <a:ext uri="{FF2B5EF4-FFF2-40B4-BE49-F238E27FC236}">
                <a16:creationId xmlns:a16="http://schemas.microsoft.com/office/drawing/2014/main" id="{7D8C5577-4FE1-43DE-BE86-661D4CD55773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5519357" y="2763689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8" name="Espace réservé pour une image  29">
            <a:extLst>
              <a:ext uri="{FF2B5EF4-FFF2-40B4-BE49-F238E27FC236}">
                <a16:creationId xmlns:a16="http://schemas.microsoft.com/office/drawing/2014/main" id="{9A3B3DA7-6C62-4EF2-84C3-3B00E6DAF8DB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7239143" y="1076592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39" name="Espace réservé pour une image  29">
            <a:extLst>
              <a:ext uri="{FF2B5EF4-FFF2-40B4-BE49-F238E27FC236}">
                <a16:creationId xmlns:a16="http://schemas.microsoft.com/office/drawing/2014/main" id="{345E5B86-2D9E-4B02-A288-B23B6466715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239143" y="2763689"/>
            <a:ext cx="1548000" cy="1620000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26623E9-0EFE-4E35-8B77-24F84CBC9C21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A463EB8-FA3B-41CA-B1BF-447C86244064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897649018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option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que 6">
            <a:extLst>
              <a:ext uri="{FF2B5EF4-FFF2-40B4-BE49-F238E27FC236}">
                <a16:creationId xmlns:a16="http://schemas.microsoft.com/office/drawing/2014/main" id="{E0A037EE-2D06-3A37-A640-1C9B0455460F}"/>
              </a:ext>
            </a:extLst>
          </p:cNvPr>
          <p:cNvSpPr/>
          <p:nvPr/>
        </p:nvSpPr>
        <p:spPr>
          <a:xfrm>
            <a:off x="5295418" y="835541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gradFill>
            <a:gsLst>
              <a:gs pos="0">
                <a:schemeClr val="tx1"/>
              </a:gs>
              <a:gs pos="50000">
                <a:schemeClr val="accent2"/>
              </a:gs>
              <a:gs pos="100000">
                <a:schemeClr val="accent1"/>
              </a:gs>
            </a:gsLst>
            <a:lin ang="0" scaled="0"/>
          </a:gra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fr-FR" dirty="0">
              <a:noFill/>
            </a:endParaRPr>
          </a:p>
        </p:txBody>
      </p:sp>
      <p:sp>
        <p:nvSpPr>
          <p:cNvPr id="22" name="Graphique 6">
            <a:extLst>
              <a:ext uri="{FF2B5EF4-FFF2-40B4-BE49-F238E27FC236}">
                <a16:creationId xmlns:a16="http://schemas.microsoft.com/office/drawing/2014/main" id="{B713A0F4-CAFE-C918-36F2-8C5E96539E15}"/>
              </a:ext>
            </a:extLst>
          </p:cNvPr>
          <p:cNvSpPr/>
          <p:nvPr userDrawn="1"/>
        </p:nvSpPr>
        <p:spPr>
          <a:xfrm>
            <a:off x="4994476" y="604047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solidFill>
            <a:srgbClr val="FFFFFF"/>
          </a:soli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7DF1ECAD-5FBE-4A81-939A-22479C884F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418" y="1525027"/>
            <a:ext cx="2974693" cy="615553"/>
          </a:xfrm>
        </p:spPr>
        <p:txBody>
          <a:bodyPr anchor="b"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000" b="1" kern="1200" cap="all" baseline="0" noProof="0" dirty="0">
                <a:gradFill>
                  <a:gsLst>
                    <a:gs pos="0">
                      <a:schemeClr val="tx1"/>
                    </a:gs>
                    <a:gs pos="5000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2451FC70-2CFA-417D-AE0B-CF2ABAE2CB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95418" y="2255640"/>
            <a:ext cx="2974693" cy="956952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15" name="new-logo SG">
            <a:extLst>
              <a:ext uri="{FF2B5EF4-FFF2-40B4-BE49-F238E27FC236}">
                <a16:creationId xmlns:a16="http://schemas.microsoft.com/office/drawing/2014/main" id="{0F26C776-13F8-486A-9C6B-AA82DC20E7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3280" y="4019244"/>
            <a:ext cx="1970532" cy="110842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179EA69-81C6-32BE-EC66-DA56BB64D03C}"/>
              </a:ext>
            </a:extLst>
          </p:cNvPr>
          <p:cNvSpPr/>
          <p:nvPr userDrawn="1"/>
        </p:nvSpPr>
        <p:spPr>
          <a:xfrm>
            <a:off x="0" y="0"/>
            <a:ext cx="2576945" cy="51435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249763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+ petit 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32">
            <a:extLst>
              <a:ext uri="{FF2B5EF4-FFF2-40B4-BE49-F238E27FC236}">
                <a16:creationId xmlns:a16="http://schemas.microsoft.com/office/drawing/2014/main" id="{59400584-51DF-4622-B0C4-EAFEEF0359A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716905" y="1062038"/>
            <a:ext cx="3078544" cy="2737676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21" name="Espace réservé pour une image  32">
            <a:extLst>
              <a:ext uri="{FF2B5EF4-FFF2-40B4-BE49-F238E27FC236}">
                <a16:creationId xmlns:a16="http://schemas.microsoft.com/office/drawing/2014/main" id="{29074E96-74BD-41E9-B44D-2290F5ADFA2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2425" y="1062038"/>
            <a:ext cx="3078544" cy="2737676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23" hasCustomPrompt="1"/>
          </p:nvPr>
        </p:nvSpPr>
        <p:spPr>
          <a:xfrm>
            <a:off x="3681867" y="1311276"/>
            <a:ext cx="1793658" cy="307022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77D83F2-C973-4830-BFDB-EA4A4D2BD9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A493AF4-5F30-46AD-8BBD-1F3B47615B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4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CB8E7C8-6F78-4956-8C43-501D911E87E3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45174824-13CA-41CB-9C7A-3C63D8E214A1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78D3E0CC-2368-43CE-9455-07E6FE4057A9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81BDA1CD-9725-401C-A458-EDA9E73B5940}"/>
                </a:ext>
              </a:extLst>
            </p:cNvPr>
            <p:cNvCxnSpPr/>
            <p:nvPr userDrawn="1"/>
          </p:nvCxnSpPr>
          <p:spPr>
            <a:xfrm flipH="1">
              <a:off x="-252536" y="12004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Image 28">
            <a:extLst>
              <a:ext uri="{FF2B5EF4-FFF2-40B4-BE49-F238E27FC236}">
                <a16:creationId xmlns:a16="http://schemas.microsoft.com/office/drawing/2014/main" id="{BBBDDBBA-8E13-4D52-AF5D-5D587C30B9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5B16DAF8-3E37-4DA7-84B6-66181262542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C0C1F35-C022-4BB4-94B0-15084C60BA9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915347051"/>
      </p:ext>
    </p:extLst>
  </p:cSld>
  <p:clrMapOvr>
    <a:masterClrMapping/>
  </p:clrMapOvr>
  <p:transition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tit texte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/>
          <p:cNvSpPr>
            <a:spLocks noGrp="1"/>
          </p:cNvSpPr>
          <p:nvPr>
            <p:ph type="body" sz="quarter" idx="23" hasCustomPrompt="1"/>
          </p:nvPr>
        </p:nvSpPr>
        <p:spPr>
          <a:xfrm>
            <a:off x="352425" y="1311276"/>
            <a:ext cx="1793658" cy="307022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77D83F2-C973-4830-BFDB-EA4A4D2BD9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A493AF4-5F30-46AD-8BBD-1F3B47615B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4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CB8E7C8-6F78-4956-8C43-501D911E87E3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45174824-13CA-41CB-9C7A-3C63D8E214A1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78D3E0CC-2368-43CE-9455-07E6FE4057A9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81BDA1CD-9725-401C-A458-EDA9E73B5940}"/>
                </a:ext>
              </a:extLst>
            </p:cNvPr>
            <p:cNvCxnSpPr/>
            <p:nvPr userDrawn="1"/>
          </p:nvCxnSpPr>
          <p:spPr>
            <a:xfrm flipH="1">
              <a:off x="-252536" y="12004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Image 28">
            <a:extLst>
              <a:ext uri="{FF2B5EF4-FFF2-40B4-BE49-F238E27FC236}">
                <a16:creationId xmlns:a16="http://schemas.microsoft.com/office/drawing/2014/main" id="{BBBDDBBA-8E13-4D52-AF5D-5D587C30B9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6" name="Espace réservé pour une image  32">
            <a:extLst>
              <a:ext uri="{FF2B5EF4-FFF2-40B4-BE49-F238E27FC236}">
                <a16:creationId xmlns:a16="http://schemas.microsoft.com/office/drawing/2014/main" id="{54721A69-09DB-42D6-BE9B-7E339C89B4C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716905" y="1062038"/>
            <a:ext cx="3078544" cy="2737676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17" name="Espace réservé pour une image  32">
            <a:extLst>
              <a:ext uri="{FF2B5EF4-FFF2-40B4-BE49-F238E27FC236}">
                <a16:creationId xmlns:a16="http://schemas.microsoft.com/office/drawing/2014/main" id="{B681C9C3-6994-480E-8AF8-F32F8CE92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392222" y="1062038"/>
            <a:ext cx="3078544" cy="2737676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D988E542-8B1E-4BAC-A751-D6BD9879ECA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79B3CB1-3397-4F12-AD29-4BA654E02A66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220238381"/>
      </p:ext>
    </p:extLst>
  </p:cSld>
  <p:clrMapOvr>
    <a:masterClrMapping/>
  </p:clrMapOvr>
  <p:transition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+ peti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/>
          <p:cNvSpPr>
            <a:spLocks noGrp="1"/>
          </p:cNvSpPr>
          <p:nvPr>
            <p:ph type="body" sz="quarter" idx="23" hasCustomPrompt="1"/>
          </p:nvPr>
        </p:nvSpPr>
        <p:spPr>
          <a:xfrm>
            <a:off x="6989336" y="1311276"/>
            <a:ext cx="1793658" cy="307022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77D83F2-C973-4830-BFDB-EA4A4D2BD9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A493AF4-5F30-46AD-8BBD-1F3B47615B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4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CB8E7C8-6F78-4956-8C43-501D911E87E3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45174824-13CA-41CB-9C7A-3C63D8E214A1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78D3E0CC-2368-43CE-9455-07E6FE4057A9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81BDA1CD-9725-401C-A458-EDA9E73B5940}"/>
                </a:ext>
              </a:extLst>
            </p:cNvPr>
            <p:cNvCxnSpPr/>
            <p:nvPr userDrawn="1"/>
          </p:nvCxnSpPr>
          <p:spPr>
            <a:xfrm flipH="1">
              <a:off x="-252536" y="12004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Image 28">
            <a:extLst>
              <a:ext uri="{FF2B5EF4-FFF2-40B4-BE49-F238E27FC236}">
                <a16:creationId xmlns:a16="http://schemas.microsoft.com/office/drawing/2014/main" id="{BBBDDBBA-8E13-4D52-AF5D-5D587C30B9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6" name="Espace réservé pour une image  32">
            <a:extLst>
              <a:ext uri="{FF2B5EF4-FFF2-40B4-BE49-F238E27FC236}">
                <a16:creationId xmlns:a16="http://schemas.microsoft.com/office/drawing/2014/main" id="{41F5121C-B739-42D0-8868-00BCED3CEE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684683" y="1062038"/>
            <a:ext cx="3078544" cy="2737676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17" name="Espace réservé pour une image  32">
            <a:extLst>
              <a:ext uri="{FF2B5EF4-FFF2-40B4-BE49-F238E27FC236}">
                <a16:creationId xmlns:a16="http://schemas.microsoft.com/office/drawing/2014/main" id="{6AECEAB3-E740-4DDE-89B0-A267C3F79B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0000" y="1062038"/>
            <a:ext cx="3078544" cy="2737676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8ADF2885-AD70-44B6-A203-9C17F841FB7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C21BD9F-4FFE-43D0-B7F0-6C180EA0E42F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034528275"/>
      </p:ext>
    </p:extLst>
  </p:cSld>
  <p:clrMapOvr>
    <a:masterClrMapping/>
  </p:clrMapOvr>
  <p:transition spd="slow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32">
            <a:extLst>
              <a:ext uri="{FF2B5EF4-FFF2-40B4-BE49-F238E27FC236}">
                <a16:creationId xmlns:a16="http://schemas.microsoft.com/office/drawing/2014/main" id="{99564FC0-E3CF-4B87-854B-AFD668CED2D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239796" y="1062038"/>
            <a:ext cx="2664408" cy="3319462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15" name="Espace réservé pour une image  32">
            <a:extLst>
              <a:ext uri="{FF2B5EF4-FFF2-40B4-BE49-F238E27FC236}">
                <a16:creationId xmlns:a16="http://schemas.microsoft.com/office/drawing/2014/main" id="{2C5E3AF3-BFFB-4EE5-9B29-27D7955A6C4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0001" y="1062038"/>
            <a:ext cx="2664408" cy="3319462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7977654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9E37E46B-A015-4F6F-A43F-B4499A62F2D3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oupe 51">
            <a:extLst>
              <a:ext uri="{FF2B5EF4-FFF2-40B4-BE49-F238E27FC236}">
                <a16:creationId xmlns:a16="http://schemas.microsoft.com/office/drawing/2014/main" id="{242550B6-20BF-4B7D-BE86-A57608874007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53" name="Connecteur droit 52">
              <a:extLst>
                <a:ext uri="{FF2B5EF4-FFF2-40B4-BE49-F238E27FC236}">
                  <a16:creationId xmlns:a16="http://schemas.microsoft.com/office/drawing/2014/main" id="{FF09EC4E-BAB6-4850-B996-1B078D0961FE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eur droit 53">
              <a:extLst>
                <a:ext uri="{FF2B5EF4-FFF2-40B4-BE49-F238E27FC236}">
                  <a16:creationId xmlns:a16="http://schemas.microsoft.com/office/drawing/2014/main" id="{5DACF023-ED39-4B11-8FE6-9748A415CB15}"/>
                </a:ext>
              </a:extLst>
            </p:cNvPr>
            <p:cNvCxnSpPr/>
            <p:nvPr userDrawn="1"/>
          </p:nvCxnSpPr>
          <p:spPr>
            <a:xfrm flipH="1">
              <a:off x="-252536" y="1742201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195E1888-A9FE-4984-8EEC-E22E24E925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6" name="Espace réservé pour une image  32">
            <a:extLst>
              <a:ext uri="{FF2B5EF4-FFF2-40B4-BE49-F238E27FC236}">
                <a16:creationId xmlns:a16="http://schemas.microsoft.com/office/drawing/2014/main" id="{4125488A-C90F-491A-AA38-B9F6819C79D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109996" y="1062038"/>
            <a:ext cx="2664408" cy="3319462"/>
          </a:xfrm>
          <a:prstGeom prst="roundRect">
            <a:avLst>
              <a:gd name="adj" fmla="val 5255"/>
            </a:avLst>
          </a:pr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817172F7-E854-4598-A180-7E67FF326219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BB90BF9-7E7B-42B8-A83A-C72F5AD7446D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666563780"/>
      </p:ext>
    </p:extLst>
  </p:cSld>
  <p:clrMapOvr>
    <a:masterClrMapping/>
  </p:clrMapOvr>
  <p:transition spd="slow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+ 3 petite image et légen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27702"/>
            <a:ext cx="6480980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6484142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940D89D-15D8-41E6-B3DB-0B06FEBFE28C}"/>
              </a:ext>
            </a:extLst>
          </p:cNvPr>
          <p:cNvSpPr txBox="1"/>
          <p:nvPr userDrawn="1"/>
        </p:nvSpPr>
        <p:spPr>
          <a:xfrm>
            <a:off x="967923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D3E04D2F-D485-41EE-B7FB-0426DE9FBB0F}"/>
              </a:ext>
            </a:extLst>
          </p:cNvPr>
          <p:cNvGrpSpPr/>
          <p:nvPr userDrawn="1"/>
        </p:nvGrpSpPr>
        <p:grpSpPr>
          <a:xfrm flipH="1">
            <a:off x="9219400" y="581025"/>
            <a:ext cx="144016" cy="4562475"/>
            <a:chOff x="-252536" y="-197952"/>
            <a:chExt cx="144016" cy="4562475"/>
          </a:xfrm>
        </p:grpSpPr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id="{74506B10-53F1-4F63-990A-F084EF79B7E4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>
              <a:extLst>
                <a:ext uri="{FF2B5EF4-FFF2-40B4-BE49-F238E27FC236}">
                  <a16:creationId xmlns:a16="http://schemas.microsoft.com/office/drawing/2014/main" id="{C7DAE91A-3706-445E-ACA1-36C74EF45C45}"/>
                </a:ext>
              </a:extLst>
            </p:cNvPr>
            <p:cNvCxnSpPr/>
            <p:nvPr userDrawn="1"/>
          </p:nvCxnSpPr>
          <p:spPr>
            <a:xfrm flipH="1">
              <a:off x="-252536" y="134268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5" name="Image 34">
            <a:extLst>
              <a:ext uri="{FF2B5EF4-FFF2-40B4-BE49-F238E27FC236}">
                <a16:creationId xmlns:a16="http://schemas.microsoft.com/office/drawing/2014/main" id="{FBD001A7-A257-4542-BDF2-993FAE4FB4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4800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2" name="Espace réservé du texte 13">
            <a:extLst>
              <a:ext uri="{FF2B5EF4-FFF2-40B4-BE49-F238E27FC236}">
                <a16:creationId xmlns:a16="http://schemas.microsoft.com/office/drawing/2014/main" id="{9AF1EBF6-8E41-478E-9588-0A0DD443DE4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0" y="1073302"/>
            <a:ext cx="9143999" cy="3316952"/>
          </a:xfrm>
          <a:prstGeom prst="roundRect">
            <a:avLst>
              <a:gd name="adj" fmla="val 1690"/>
            </a:avLst>
          </a:prstGeom>
          <a:gradFill>
            <a:gsLst>
              <a:gs pos="50000">
                <a:schemeClr val="accent4"/>
              </a:gs>
              <a:gs pos="0">
                <a:schemeClr val="tx1"/>
              </a:gs>
              <a:gs pos="100000">
                <a:schemeClr val="accent5"/>
              </a:gs>
            </a:gsLst>
            <a:lin ang="0" scaled="0"/>
          </a:gradFill>
          <a:ln w="12643" cap="flat">
            <a:noFill/>
            <a:prstDash val="solid"/>
            <a:miter/>
          </a:ln>
        </p:spPr>
        <p:txBody>
          <a:bodyPr lIns="324000" rtlCol="0" anchor="ctr"/>
          <a:lstStyle>
            <a:lvl1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3pPr>
          </a:lstStyle>
          <a:p>
            <a:pPr marL="0" lvl="0" defTabSz="342900"/>
            <a:r>
              <a:rPr lang="en-US" noProof="0" dirty="0"/>
              <a:t>Text 1</a:t>
            </a:r>
          </a:p>
          <a:p>
            <a:pPr marL="342900" lvl="1" defTabSz="342900"/>
            <a:r>
              <a:rPr lang="en-US" noProof="0" dirty="0"/>
              <a:t>Text 2</a:t>
            </a:r>
          </a:p>
          <a:p>
            <a:pPr marL="685800" lvl="2" defTabSz="342900"/>
            <a:r>
              <a:rPr lang="en-US" noProof="0" dirty="0"/>
              <a:t>Text 3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DDDC3B1-6151-4BE1-88BE-AB68682F5435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ABF0606-7F2E-4F57-B83A-456666DCD06B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334418452"/>
      </p:ext>
    </p:extLst>
  </p:cSld>
  <p:clrMapOvr>
    <a:masterClrMapping/>
  </p:clrMapOvr>
  <p:transition spd="slow">
    <p:wip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+ 3 petite image et légen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27702"/>
            <a:ext cx="6480980" cy="276999"/>
          </a:xfrm>
        </p:spPr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6484142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940D89D-15D8-41E6-B3DB-0B06FEBFE28C}"/>
              </a:ext>
            </a:extLst>
          </p:cNvPr>
          <p:cNvSpPr txBox="1"/>
          <p:nvPr userDrawn="1"/>
        </p:nvSpPr>
        <p:spPr>
          <a:xfrm>
            <a:off x="967923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D3E04D2F-D485-41EE-B7FB-0426DE9FBB0F}"/>
              </a:ext>
            </a:extLst>
          </p:cNvPr>
          <p:cNvGrpSpPr/>
          <p:nvPr userDrawn="1"/>
        </p:nvGrpSpPr>
        <p:grpSpPr>
          <a:xfrm flipH="1">
            <a:off x="9219400" y="581025"/>
            <a:ext cx="144016" cy="4562475"/>
            <a:chOff x="-252536" y="-197952"/>
            <a:chExt cx="144016" cy="4562475"/>
          </a:xfrm>
        </p:grpSpPr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id="{74506B10-53F1-4F63-990A-F084EF79B7E4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>
              <a:extLst>
                <a:ext uri="{FF2B5EF4-FFF2-40B4-BE49-F238E27FC236}">
                  <a16:creationId xmlns:a16="http://schemas.microsoft.com/office/drawing/2014/main" id="{C7DAE91A-3706-445E-ACA1-36C74EF45C45}"/>
                </a:ext>
              </a:extLst>
            </p:cNvPr>
            <p:cNvCxnSpPr/>
            <p:nvPr userDrawn="1"/>
          </p:nvCxnSpPr>
          <p:spPr>
            <a:xfrm flipH="1">
              <a:off x="-252536" y="134268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5" name="Image 34">
            <a:extLst>
              <a:ext uri="{FF2B5EF4-FFF2-40B4-BE49-F238E27FC236}">
                <a16:creationId xmlns:a16="http://schemas.microsoft.com/office/drawing/2014/main" id="{FBD001A7-A257-4542-BDF2-993FAE4FB4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4800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2" name="Espace réservé du texte 13">
            <a:extLst>
              <a:ext uri="{FF2B5EF4-FFF2-40B4-BE49-F238E27FC236}">
                <a16:creationId xmlns:a16="http://schemas.microsoft.com/office/drawing/2014/main" id="{9AF1EBF6-8E41-478E-9588-0A0DD443DE4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0" y="1073302"/>
            <a:ext cx="9143999" cy="3316952"/>
          </a:xfrm>
          <a:prstGeom prst="roundRect">
            <a:avLst>
              <a:gd name="adj" fmla="val 1690"/>
            </a:avLst>
          </a:prstGeom>
          <a:gradFill>
            <a:gsLst>
              <a:gs pos="0">
                <a:schemeClr val="tx1"/>
              </a:gs>
              <a:gs pos="100000">
                <a:schemeClr val="bg2"/>
              </a:gs>
            </a:gsLst>
            <a:lin ang="0" scaled="0"/>
          </a:gradFill>
          <a:ln w="12643" cap="flat">
            <a:noFill/>
            <a:prstDash val="solid"/>
            <a:miter/>
          </a:ln>
        </p:spPr>
        <p:txBody>
          <a:bodyPr lIns="324000" rtlCol="0" anchor="ctr"/>
          <a:lstStyle>
            <a:lvl1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3pPr>
          </a:lstStyle>
          <a:p>
            <a:pPr marL="0" lvl="0" defTabSz="342900"/>
            <a:r>
              <a:rPr lang="en-US" noProof="0" dirty="0"/>
              <a:t>Text 1</a:t>
            </a:r>
          </a:p>
          <a:p>
            <a:pPr marL="342900" lvl="1" defTabSz="342900"/>
            <a:r>
              <a:rPr lang="en-US" noProof="0" dirty="0"/>
              <a:t>Text 2</a:t>
            </a:r>
          </a:p>
          <a:p>
            <a:pPr marL="685800" lvl="2" defTabSz="342900"/>
            <a:r>
              <a:rPr lang="en-US" noProof="0" dirty="0"/>
              <a:t>Text 3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DDDC3B1-6151-4BE1-88BE-AB68682F5435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ABF0606-7F2E-4F57-B83A-456666DCD06B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041557733"/>
      </p:ext>
    </p:extLst>
  </p:cSld>
  <p:clrMapOvr>
    <a:masterClrMapping/>
  </p:clrMapOvr>
  <p:transition spd="slow">
    <p:wip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mage +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29009D1B-2B2E-411A-A677-1A47999588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9144000" cy="3810000"/>
          </a:xfrm>
          <a:custGeom>
            <a:avLst/>
            <a:gdLst>
              <a:gd name="connsiteX0" fmla="*/ 0 w 9144000"/>
              <a:gd name="connsiteY0" fmla="*/ 0 h 3810000"/>
              <a:gd name="connsiteX1" fmla="*/ 9144000 w 9144000"/>
              <a:gd name="connsiteY1" fmla="*/ 0 h 3810000"/>
              <a:gd name="connsiteX2" fmla="*/ 9144000 w 9144000"/>
              <a:gd name="connsiteY2" fmla="*/ 3810000 h 3810000"/>
              <a:gd name="connsiteX3" fmla="*/ 8792773 w 9144000"/>
              <a:gd name="connsiteY3" fmla="*/ 3810000 h 3810000"/>
              <a:gd name="connsiteX4" fmla="*/ 8792773 w 9144000"/>
              <a:gd name="connsiteY4" fmla="*/ 2959725 h 3810000"/>
              <a:gd name="connsiteX5" fmla="*/ 8746188 w 9144000"/>
              <a:gd name="connsiteY5" fmla="*/ 2793192 h 3810000"/>
              <a:gd name="connsiteX6" fmla="*/ 8591861 w 9144000"/>
              <a:gd name="connsiteY6" fmla="*/ 2790194 h 3810000"/>
              <a:gd name="connsiteX7" fmla="*/ 6416819 w 9144000"/>
              <a:gd name="connsiteY7" fmla="*/ 3213300 h 3810000"/>
              <a:gd name="connsiteX8" fmla="*/ 6258783 w 9144000"/>
              <a:gd name="connsiteY8" fmla="*/ 3279051 h 3810000"/>
              <a:gd name="connsiteX9" fmla="*/ 6215906 w 9144000"/>
              <a:gd name="connsiteY9" fmla="*/ 3460743 h 3810000"/>
              <a:gd name="connsiteX10" fmla="*/ 6215906 w 9144000"/>
              <a:gd name="connsiteY10" fmla="*/ 3810000 h 3810000"/>
              <a:gd name="connsiteX11" fmla="*/ 0 w 9144000"/>
              <a:gd name="connsiteY11" fmla="*/ 381000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4000" h="3810000">
                <a:moveTo>
                  <a:pt x="0" y="0"/>
                </a:moveTo>
                <a:lnTo>
                  <a:pt x="9144000" y="0"/>
                </a:lnTo>
                <a:lnTo>
                  <a:pt x="9144000" y="3810000"/>
                </a:lnTo>
                <a:lnTo>
                  <a:pt x="8792773" y="3810000"/>
                </a:lnTo>
                <a:lnTo>
                  <a:pt x="8792773" y="2959725"/>
                </a:lnTo>
                <a:cubicBezTo>
                  <a:pt x="8793673" y="2881171"/>
                  <a:pt x="8796944" y="2827268"/>
                  <a:pt x="8746188" y="2793192"/>
                </a:cubicBezTo>
                <a:cubicBezTo>
                  <a:pt x="8705339" y="2765766"/>
                  <a:pt x="8672168" y="2774915"/>
                  <a:pt x="8591861" y="2790194"/>
                </a:cubicBezTo>
                <a:lnTo>
                  <a:pt x="6416819" y="3213300"/>
                </a:lnTo>
                <a:cubicBezTo>
                  <a:pt x="6347233" y="3224395"/>
                  <a:pt x="6303207" y="3225055"/>
                  <a:pt x="6258783" y="3279051"/>
                </a:cubicBezTo>
                <a:cubicBezTo>
                  <a:pt x="6214360" y="3333047"/>
                  <a:pt x="6216455" y="3396826"/>
                  <a:pt x="6215906" y="3460743"/>
                </a:cubicBezTo>
                <a:lnTo>
                  <a:pt x="6215906" y="3810000"/>
                </a:lnTo>
                <a:lnTo>
                  <a:pt x="0" y="3810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22572C44-6B98-4C76-BF19-B58310C03EA1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ABD3710F-0552-4936-BD67-EFA1F55EF606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47" name="Connecteur droit 46">
              <a:extLst>
                <a:ext uri="{FF2B5EF4-FFF2-40B4-BE49-F238E27FC236}">
                  <a16:creationId xmlns:a16="http://schemas.microsoft.com/office/drawing/2014/main" id="{35EF02FC-47B6-4B91-99D5-62181834A079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id="{4CD56F71-2D4F-4E7D-BCDE-080C81A03AE7}"/>
                </a:ext>
              </a:extLst>
            </p:cNvPr>
            <p:cNvCxnSpPr/>
            <p:nvPr userDrawn="1"/>
          </p:nvCxnSpPr>
          <p:spPr>
            <a:xfrm flipH="1">
              <a:off x="-252536" y="2606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Image 48">
            <a:extLst>
              <a:ext uri="{FF2B5EF4-FFF2-40B4-BE49-F238E27FC236}">
                <a16:creationId xmlns:a16="http://schemas.microsoft.com/office/drawing/2014/main" id="{60333338-DE4E-40ED-9DB6-2DFB675D2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2" name="Titre 41">
            <a:extLst>
              <a:ext uri="{FF2B5EF4-FFF2-40B4-BE49-F238E27FC236}">
                <a16:creationId xmlns:a16="http://schemas.microsoft.com/office/drawing/2014/main" id="{F14351B7-4B85-4EC0-AD2F-742EE77C4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177" y="2776410"/>
            <a:ext cx="2577255" cy="1843582"/>
          </a:xfrm>
          <a:custGeom>
            <a:avLst/>
            <a:gdLst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704"/>
              <a:gd name="connsiteY0" fmla="*/ 227 h 1345049"/>
              <a:gd name="connsiteX1" fmla="*/ 1902222 w 1902704"/>
              <a:gd name="connsiteY1" fmla="*/ 128341 h 1345049"/>
              <a:gd name="connsiteX2" fmla="*/ 1902222 w 1902704"/>
              <a:gd name="connsiteY2" fmla="*/ 847183 h 1345049"/>
              <a:gd name="connsiteX3" fmla="*/ 1753927 w 1902704"/>
              <a:gd name="connsiteY3" fmla="*/ 1029822 h 1345049"/>
              <a:gd name="connsiteX4" fmla="*/ 148513 w 1902704"/>
              <a:gd name="connsiteY4" fmla="*/ 1341854 h 1345049"/>
              <a:gd name="connsiteX5" fmla="*/ 113689 w 1902704"/>
              <a:gd name="connsiteY5" fmla="*/ 1344835 h 1345049"/>
              <a:gd name="connsiteX6" fmla="*/ 218 w 1902704"/>
              <a:gd name="connsiteY6" fmla="*/ 1216988 h 1345049"/>
              <a:gd name="connsiteX7" fmla="*/ 218 w 1902704"/>
              <a:gd name="connsiteY7" fmla="*/ 498146 h 1345049"/>
              <a:gd name="connsiteX8" fmla="*/ 148513 w 1902704"/>
              <a:gd name="connsiteY8" fmla="*/ 315507 h 1345049"/>
              <a:gd name="connsiteX9" fmla="*/ 1753927 w 1902704"/>
              <a:gd name="connsiteY9" fmla="*/ 3209 h 1345049"/>
              <a:gd name="connsiteX10" fmla="*/ 1789045 w 1902704"/>
              <a:gd name="connsiteY10" fmla="*/ 227 h 1345049"/>
              <a:gd name="connsiteX0" fmla="*/ 1789045 w 1917127"/>
              <a:gd name="connsiteY0" fmla="*/ 227 h 1345049"/>
              <a:gd name="connsiteX1" fmla="*/ 1902222 w 1917127"/>
              <a:gd name="connsiteY1" fmla="*/ 128341 h 1345049"/>
              <a:gd name="connsiteX2" fmla="*/ 1902222 w 1917127"/>
              <a:gd name="connsiteY2" fmla="*/ 847183 h 1345049"/>
              <a:gd name="connsiteX3" fmla="*/ 1879992 w 1917127"/>
              <a:gd name="connsiteY3" fmla="*/ 968427 h 1345049"/>
              <a:gd name="connsiteX4" fmla="*/ 1753927 w 1917127"/>
              <a:gd name="connsiteY4" fmla="*/ 1029822 h 1345049"/>
              <a:gd name="connsiteX5" fmla="*/ 148513 w 1917127"/>
              <a:gd name="connsiteY5" fmla="*/ 1341854 h 1345049"/>
              <a:gd name="connsiteX6" fmla="*/ 113689 w 1917127"/>
              <a:gd name="connsiteY6" fmla="*/ 1344835 h 1345049"/>
              <a:gd name="connsiteX7" fmla="*/ 218 w 1917127"/>
              <a:gd name="connsiteY7" fmla="*/ 1216988 h 1345049"/>
              <a:gd name="connsiteX8" fmla="*/ 218 w 1917127"/>
              <a:gd name="connsiteY8" fmla="*/ 498146 h 1345049"/>
              <a:gd name="connsiteX9" fmla="*/ 148513 w 1917127"/>
              <a:gd name="connsiteY9" fmla="*/ 315507 h 1345049"/>
              <a:gd name="connsiteX10" fmla="*/ 1753927 w 1917127"/>
              <a:gd name="connsiteY10" fmla="*/ 3209 h 1345049"/>
              <a:gd name="connsiteX11" fmla="*/ 1789045 w 191712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865239 w 1910449"/>
              <a:gd name="connsiteY0" fmla="*/ 6256 h 1342420"/>
              <a:gd name="connsiteX1" fmla="*/ 1902222 w 1910449"/>
              <a:gd name="connsiteY1" fmla="*/ 125712 h 1342420"/>
              <a:gd name="connsiteX2" fmla="*/ 1902222 w 1910449"/>
              <a:gd name="connsiteY2" fmla="*/ 844554 h 1342420"/>
              <a:gd name="connsiteX3" fmla="*/ 1879992 w 1910449"/>
              <a:gd name="connsiteY3" fmla="*/ 965798 h 1342420"/>
              <a:gd name="connsiteX4" fmla="*/ 1753927 w 1910449"/>
              <a:gd name="connsiteY4" fmla="*/ 1027193 h 1342420"/>
              <a:gd name="connsiteX5" fmla="*/ 148513 w 1910449"/>
              <a:gd name="connsiteY5" fmla="*/ 1339225 h 1342420"/>
              <a:gd name="connsiteX6" fmla="*/ 113689 w 1910449"/>
              <a:gd name="connsiteY6" fmla="*/ 1342206 h 1342420"/>
              <a:gd name="connsiteX7" fmla="*/ 218 w 1910449"/>
              <a:gd name="connsiteY7" fmla="*/ 1214359 h 1342420"/>
              <a:gd name="connsiteX8" fmla="*/ 218 w 1910449"/>
              <a:gd name="connsiteY8" fmla="*/ 495517 h 1342420"/>
              <a:gd name="connsiteX9" fmla="*/ 148513 w 1910449"/>
              <a:gd name="connsiteY9" fmla="*/ 312878 h 1342420"/>
              <a:gd name="connsiteX10" fmla="*/ 1753927 w 1910449"/>
              <a:gd name="connsiteY10" fmla="*/ 580 h 1342420"/>
              <a:gd name="connsiteX11" fmla="*/ 1865239 w 1910449"/>
              <a:gd name="connsiteY11" fmla="*/ 6256 h 1342420"/>
              <a:gd name="connsiteX0" fmla="*/ 1865239 w 1902954"/>
              <a:gd name="connsiteY0" fmla="*/ 6256 h 1342420"/>
              <a:gd name="connsiteX1" fmla="*/ 1902222 w 1902954"/>
              <a:gd name="connsiteY1" fmla="*/ 125712 h 1342420"/>
              <a:gd name="connsiteX2" fmla="*/ 1902222 w 1902954"/>
              <a:gd name="connsiteY2" fmla="*/ 844554 h 1342420"/>
              <a:gd name="connsiteX3" fmla="*/ 1879992 w 1902954"/>
              <a:gd name="connsiteY3" fmla="*/ 965798 h 1342420"/>
              <a:gd name="connsiteX4" fmla="*/ 1753927 w 1902954"/>
              <a:gd name="connsiteY4" fmla="*/ 1027193 h 1342420"/>
              <a:gd name="connsiteX5" fmla="*/ 148513 w 1902954"/>
              <a:gd name="connsiteY5" fmla="*/ 1339225 h 1342420"/>
              <a:gd name="connsiteX6" fmla="*/ 113689 w 1902954"/>
              <a:gd name="connsiteY6" fmla="*/ 1342206 h 1342420"/>
              <a:gd name="connsiteX7" fmla="*/ 218 w 1902954"/>
              <a:gd name="connsiteY7" fmla="*/ 1214359 h 1342420"/>
              <a:gd name="connsiteX8" fmla="*/ 218 w 1902954"/>
              <a:gd name="connsiteY8" fmla="*/ 495517 h 1342420"/>
              <a:gd name="connsiteX9" fmla="*/ 148513 w 1902954"/>
              <a:gd name="connsiteY9" fmla="*/ 312878 h 1342420"/>
              <a:gd name="connsiteX10" fmla="*/ 1753927 w 1902954"/>
              <a:gd name="connsiteY10" fmla="*/ 580 h 1342420"/>
              <a:gd name="connsiteX11" fmla="*/ 1865239 w 1902954"/>
              <a:gd name="connsiteY11" fmla="*/ 6256 h 1342420"/>
              <a:gd name="connsiteX0" fmla="*/ 1865239 w 1910051"/>
              <a:gd name="connsiteY0" fmla="*/ 31812 h 1367976"/>
              <a:gd name="connsiteX1" fmla="*/ 1902222 w 1910051"/>
              <a:gd name="connsiteY1" fmla="*/ 151268 h 1367976"/>
              <a:gd name="connsiteX2" fmla="*/ 1902222 w 1910051"/>
              <a:gd name="connsiteY2" fmla="*/ 870110 h 1367976"/>
              <a:gd name="connsiteX3" fmla="*/ 1879992 w 1910051"/>
              <a:gd name="connsiteY3" fmla="*/ 991354 h 1367976"/>
              <a:gd name="connsiteX4" fmla="*/ 1753927 w 1910051"/>
              <a:gd name="connsiteY4" fmla="*/ 1052749 h 1367976"/>
              <a:gd name="connsiteX5" fmla="*/ 148513 w 1910051"/>
              <a:gd name="connsiteY5" fmla="*/ 1364781 h 1367976"/>
              <a:gd name="connsiteX6" fmla="*/ 113689 w 1910051"/>
              <a:gd name="connsiteY6" fmla="*/ 1367762 h 1367976"/>
              <a:gd name="connsiteX7" fmla="*/ 218 w 1910051"/>
              <a:gd name="connsiteY7" fmla="*/ 1239915 h 1367976"/>
              <a:gd name="connsiteX8" fmla="*/ 218 w 1910051"/>
              <a:gd name="connsiteY8" fmla="*/ 521073 h 1367976"/>
              <a:gd name="connsiteX9" fmla="*/ 148513 w 1910051"/>
              <a:gd name="connsiteY9" fmla="*/ 338434 h 1367976"/>
              <a:gd name="connsiteX10" fmla="*/ 1753927 w 1910051"/>
              <a:gd name="connsiteY10" fmla="*/ 26136 h 1367976"/>
              <a:gd name="connsiteX11" fmla="*/ 1865239 w 1910051"/>
              <a:gd name="connsiteY11" fmla="*/ 31812 h 1367976"/>
              <a:gd name="connsiteX0" fmla="*/ 1865239 w 1902954"/>
              <a:gd name="connsiteY0" fmla="*/ 14204 h 1350368"/>
              <a:gd name="connsiteX1" fmla="*/ 1902222 w 1902954"/>
              <a:gd name="connsiteY1" fmla="*/ 133660 h 1350368"/>
              <a:gd name="connsiteX2" fmla="*/ 1902222 w 1902954"/>
              <a:gd name="connsiteY2" fmla="*/ 852502 h 1350368"/>
              <a:gd name="connsiteX3" fmla="*/ 1879992 w 1902954"/>
              <a:gd name="connsiteY3" fmla="*/ 973746 h 1350368"/>
              <a:gd name="connsiteX4" fmla="*/ 1753927 w 1902954"/>
              <a:gd name="connsiteY4" fmla="*/ 1035141 h 1350368"/>
              <a:gd name="connsiteX5" fmla="*/ 148513 w 1902954"/>
              <a:gd name="connsiteY5" fmla="*/ 1347173 h 1350368"/>
              <a:gd name="connsiteX6" fmla="*/ 113689 w 1902954"/>
              <a:gd name="connsiteY6" fmla="*/ 1350154 h 1350368"/>
              <a:gd name="connsiteX7" fmla="*/ 218 w 1902954"/>
              <a:gd name="connsiteY7" fmla="*/ 1222307 h 1350368"/>
              <a:gd name="connsiteX8" fmla="*/ 218 w 1902954"/>
              <a:gd name="connsiteY8" fmla="*/ 503465 h 1350368"/>
              <a:gd name="connsiteX9" fmla="*/ 148513 w 1902954"/>
              <a:gd name="connsiteY9" fmla="*/ 320826 h 1350368"/>
              <a:gd name="connsiteX10" fmla="*/ 1753927 w 1902954"/>
              <a:gd name="connsiteY10" fmla="*/ 8528 h 1350368"/>
              <a:gd name="connsiteX11" fmla="*/ 1865239 w 1902954"/>
              <a:gd name="connsiteY11" fmla="*/ 14204 h 1350368"/>
              <a:gd name="connsiteX0" fmla="*/ 1866971 w 1903028"/>
              <a:gd name="connsiteY0" fmla="*/ 13777 h 1350807"/>
              <a:gd name="connsiteX1" fmla="*/ 1902222 w 1903028"/>
              <a:gd name="connsiteY1" fmla="*/ 134099 h 1350807"/>
              <a:gd name="connsiteX2" fmla="*/ 1902222 w 1903028"/>
              <a:gd name="connsiteY2" fmla="*/ 852941 h 1350807"/>
              <a:gd name="connsiteX3" fmla="*/ 1879992 w 1903028"/>
              <a:gd name="connsiteY3" fmla="*/ 974185 h 1350807"/>
              <a:gd name="connsiteX4" fmla="*/ 1753927 w 1903028"/>
              <a:gd name="connsiteY4" fmla="*/ 1035580 h 1350807"/>
              <a:gd name="connsiteX5" fmla="*/ 148513 w 1903028"/>
              <a:gd name="connsiteY5" fmla="*/ 1347612 h 1350807"/>
              <a:gd name="connsiteX6" fmla="*/ 113689 w 1903028"/>
              <a:gd name="connsiteY6" fmla="*/ 1350593 h 1350807"/>
              <a:gd name="connsiteX7" fmla="*/ 218 w 1903028"/>
              <a:gd name="connsiteY7" fmla="*/ 1222746 h 1350807"/>
              <a:gd name="connsiteX8" fmla="*/ 218 w 1903028"/>
              <a:gd name="connsiteY8" fmla="*/ 503904 h 1350807"/>
              <a:gd name="connsiteX9" fmla="*/ 148513 w 1903028"/>
              <a:gd name="connsiteY9" fmla="*/ 321265 h 1350807"/>
              <a:gd name="connsiteX10" fmla="*/ 1753927 w 1903028"/>
              <a:gd name="connsiteY10" fmla="*/ 8967 h 1350807"/>
              <a:gd name="connsiteX11" fmla="*/ 1866971 w 1903028"/>
              <a:gd name="connsiteY11" fmla="*/ 13777 h 1350807"/>
              <a:gd name="connsiteX0" fmla="*/ 1867837 w 1903070"/>
              <a:gd name="connsiteY0" fmla="*/ 12609 h 1352236"/>
              <a:gd name="connsiteX1" fmla="*/ 1902222 w 1903070"/>
              <a:gd name="connsiteY1" fmla="*/ 135528 h 1352236"/>
              <a:gd name="connsiteX2" fmla="*/ 1902222 w 1903070"/>
              <a:gd name="connsiteY2" fmla="*/ 854370 h 1352236"/>
              <a:gd name="connsiteX3" fmla="*/ 1879992 w 1903070"/>
              <a:gd name="connsiteY3" fmla="*/ 975614 h 1352236"/>
              <a:gd name="connsiteX4" fmla="*/ 1753927 w 1903070"/>
              <a:gd name="connsiteY4" fmla="*/ 1037009 h 1352236"/>
              <a:gd name="connsiteX5" fmla="*/ 148513 w 1903070"/>
              <a:gd name="connsiteY5" fmla="*/ 1349041 h 1352236"/>
              <a:gd name="connsiteX6" fmla="*/ 113689 w 1903070"/>
              <a:gd name="connsiteY6" fmla="*/ 1352022 h 1352236"/>
              <a:gd name="connsiteX7" fmla="*/ 218 w 1903070"/>
              <a:gd name="connsiteY7" fmla="*/ 1224175 h 1352236"/>
              <a:gd name="connsiteX8" fmla="*/ 218 w 1903070"/>
              <a:gd name="connsiteY8" fmla="*/ 505333 h 1352236"/>
              <a:gd name="connsiteX9" fmla="*/ 148513 w 1903070"/>
              <a:gd name="connsiteY9" fmla="*/ 322694 h 1352236"/>
              <a:gd name="connsiteX10" fmla="*/ 1753927 w 1903070"/>
              <a:gd name="connsiteY10" fmla="*/ 10396 h 1352236"/>
              <a:gd name="connsiteX11" fmla="*/ 1867837 w 1903070"/>
              <a:gd name="connsiteY11" fmla="*/ 12609 h 1352236"/>
              <a:gd name="connsiteX0" fmla="*/ 1867837 w 1903114"/>
              <a:gd name="connsiteY0" fmla="*/ 11642 h 1351269"/>
              <a:gd name="connsiteX1" fmla="*/ 1902222 w 1903114"/>
              <a:gd name="connsiteY1" fmla="*/ 134561 h 1351269"/>
              <a:gd name="connsiteX2" fmla="*/ 1902222 w 1903114"/>
              <a:gd name="connsiteY2" fmla="*/ 853403 h 1351269"/>
              <a:gd name="connsiteX3" fmla="*/ 1879992 w 1903114"/>
              <a:gd name="connsiteY3" fmla="*/ 974647 h 1351269"/>
              <a:gd name="connsiteX4" fmla="*/ 1753927 w 1903114"/>
              <a:gd name="connsiteY4" fmla="*/ 1036042 h 1351269"/>
              <a:gd name="connsiteX5" fmla="*/ 148513 w 1903114"/>
              <a:gd name="connsiteY5" fmla="*/ 1348074 h 1351269"/>
              <a:gd name="connsiteX6" fmla="*/ 113689 w 1903114"/>
              <a:gd name="connsiteY6" fmla="*/ 1351055 h 1351269"/>
              <a:gd name="connsiteX7" fmla="*/ 218 w 1903114"/>
              <a:gd name="connsiteY7" fmla="*/ 1223208 h 1351269"/>
              <a:gd name="connsiteX8" fmla="*/ 218 w 1903114"/>
              <a:gd name="connsiteY8" fmla="*/ 504366 h 1351269"/>
              <a:gd name="connsiteX9" fmla="*/ 148513 w 1903114"/>
              <a:gd name="connsiteY9" fmla="*/ 321727 h 1351269"/>
              <a:gd name="connsiteX10" fmla="*/ 1753927 w 1903114"/>
              <a:gd name="connsiteY10" fmla="*/ 9429 h 1351269"/>
              <a:gd name="connsiteX11" fmla="*/ 1867837 w 1903114"/>
              <a:gd name="connsiteY11" fmla="*/ 11642 h 1351269"/>
              <a:gd name="connsiteX0" fmla="*/ 1867837 w 1903042"/>
              <a:gd name="connsiteY0" fmla="*/ 13412 h 1353039"/>
              <a:gd name="connsiteX1" fmla="*/ 1902222 w 1903042"/>
              <a:gd name="connsiteY1" fmla="*/ 136331 h 1353039"/>
              <a:gd name="connsiteX2" fmla="*/ 1902222 w 1903042"/>
              <a:gd name="connsiteY2" fmla="*/ 855173 h 1353039"/>
              <a:gd name="connsiteX3" fmla="*/ 1879992 w 1903042"/>
              <a:gd name="connsiteY3" fmla="*/ 976417 h 1353039"/>
              <a:gd name="connsiteX4" fmla="*/ 1753927 w 1903042"/>
              <a:gd name="connsiteY4" fmla="*/ 1037812 h 1353039"/>
              <a:gd name="connsiteX5" fmla="*/ 148513 w 1903042"/>
              <a:gd name="connsiteY5" fmla="*/ 1349844 h 1353039"/>
              <a:gd name="connsiteX6" fmla="*/ 113689 w 1903042"/>
              <a:gd name="connsiteY6" fmla="*/ 1352825 h 1353039"/>
              <a:gd name="connsiteX7" fmla="*/ 218 w 1903042"/>
              <a:gd name="connsiteY7" fmla="*/ 1224978 h 1353039"/>
              <a:gd name="connsiteX8" fmla="*/ 218 w 1903042"/>
              <a:gd name="connsiteY8" fmla="*/ 506136 h 1353039"/>
              <a:gd name="connsiteX9" fmla="*/ 148513 w 1903042"/>
              <a:gd name="connsiteY9" fmla="*/ 323497 h 1353039"/>
              <a:gd name="connsiteX10" fmla="*/ 1753927 w 1903042"/>
              <a:gd name="connsiteY10" fmla="*/ 11199 h 1353039"/>
              <a:gd name="connsiteX11" fmla="*/ 1867837 w 1903042"/>
              <a:gd name="connsiteY11" fmla="*/ 13412 h 1353039"/>
              <a:gd name="connsiteX0" fmla="*/ 1867837 w 1903351"/>
              <a:gd name="connsiteY0" fmla="*/ 11934 h 1351561"/>
              <a:gd name="connsiteX1" fmla="*/ 1902222 w 1903351"/>
              <a:gd name="connsiteY1" fmla="*/ 134853 h 1351561"/>
              <a:gd name="connsiteX2" fmla="*/ 1902222 w 1903351"/>
              <a:gd name="connsiteY2" fmla="*/ 853695 h 1351561"/>
              <a:gd name="connsiteX3" fmla="*/ 1879992 w 1903351"/>
              <a:gd name="connsiteY3" fmla="*/ 974939 h 1351561"/>
              <a:gd name="connsiteX4" fmla="*/ 1753927 w 1903351"/>
              <a:gd name="connsiteY4" fmla="*/ 1036334 h 1351561"/>
              <a:gd name="connsiteX5" fmla="*/ 148513 w 1903351"/>
              <a:gd name="connsiteY5" fmla="*/ 1348366 h 1351561"/>
              <a:gd name="connsiteX6" fmla="*/ 113689 w 1903351"/>
              <a:gd name="connsiteY6" fmla="*/ 1351347 h 1351561"/>
              <a:gd name="connsiteX7" fmla="*/ 218 w 1903351"/>
              <a:gd name="connsiteY7" fmla="*/ 1223500 h 1351561"/>
              <a:gd name="connsiteX8" fmla="*/ 218 w 1903351"/>
              <a:gd name="connsiteY8" fmla="*/ 504658 h 1351561"/>
              <a:gd name="connsiteX9" fmla="*/ 148513 w 1903351"/>
              <a:gd name="connsiteY9" fmla="*/ 322019 h 1351561"/>
              <a:gd name="connsiteX10" fmla="*/ 1753927 w 1903351"/>
              <a:gd name="connsiteY10" fmla="*/ 9721 h 1351561"/>
              <a:gd name="connsiteX11" fmla="*/ 1867837 w 1903351"/>
              <a:gd name="connsiteY11" fmla="*/ 11934 h 1351561"/>
              <a:gd name="connsiteX0" fmla="*/ 1867837 w 1903351"/>
              <a:gd name="connsiteY0" fmla="*/ 12533 h 1352160"/>
              <a:gd name="connsiteX1" fmla="*/ 1902222 w 1903351"/>
              <a:gd name="connsiteY1" fmla="*/ 135452 h 1352160"/>
              <a:gd name="connsiteX2" fmla="*/ 1902222 w 1903351"/>
              <a:gd name="connsiteY2" fmla="*/ 854294 h 1352160"/>
              <a:gd name="connsiteX3" fmla="*/ 1879992 w 1903351"/>
              <a:gd name="connsiteY3" fmla="*/ 975538 h 1352160"/>
              <a:gd name="connsiteX4" fmla="*/ 1753927 w 1903351"/>
              <a:gd name="connsiteY4" fmla="*/ 1036933 h 1352160"/>
              <a:gd name="connsiteX5" fmla="*/ 148513 w 1903351"/>
              <a:gd name="connsiteY5" fmla="*/ 1348965 h 1352160"/>
              <a:gd name="connsiteX6" fmla="*/ 113689 w 1903351"/>
              <a:gd name="connsiteY6" fmla="*/ 1351946 h 1352160"/>
              <a:gd name="connsiteX7" fmla="*/ 218 w 1903351"/>
              <a:gd name="connsiteY7" fmla="*/ 1224099 h 1352160"/>
              <a:gd name="connsiteX8" fmla="*/ 218 w 1903351"/>
              <a:gd name="connsiteY8" fmla="*/ 505257 h 1352160"/>
              <a:gd name="connsiteX9" fmla="*/ 148513 w 1903351"/>
              <a:gd name="connsiteY9" fmla="*/ 322618 h 1352160"/>
              <a:gd name="connsiteX10" fmla="*/ 1753927 w 1903351"/>
              <a:gd name="connsiteY10" fmla="*/ 10320 h 1352160"/>
              <a:gd name="connsiteX11" fmla="*/ 1867837 w 1903351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148513 w 1902508"/>
              <a:gd name="connsiteY9" fmla="*/ 323071 h 1352613"/>
              <a:gd name="connsiteX10" fmla="*/ 1753927 w 1902508"/>
              <a:gd name="connsiteY10" fmla="*/ 10773 h 1352613"/>
              <a:gd name="connsiteX11" fmla="*/ 1867837 w 1902508"/>
              <a:gd name="connsiteY11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58707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76118 w 1910789"/>
              <a:gd name="connsiteY0" fmla="*/ 12986 h 1352613"/>
              <a:gd name="connsiteX1" fmla="*/ 1910503 w 1910789"/>
              <a:gd name="connsiteY1" fmla="*/ 135905 h 1352613"/>
              <a:gd name="connsiteX2" fmla="*/ 1910503 w 1910789"/>
              <a:gd name="connsiteY2" fmla="*/ 854747 h 1352613"/>
              <a:gd name="connsiteX3" fmla="*/ 1888273 w 1910789"/>
              <a:gd name="connsiteY3" fmla="*/ 975991 h 1352613"/>
              <a:gd name="connsiteX4" fmla="*/ 1762208 w 1910789"/>
              <a:gd name="connsiteY4" fmla="*/ 1037386 h 1352613"/>
              <a:gd name="connsiteX5" fmla="*/ 156794 w 1910789"/>
              <a:gd name="connsiteY5" fmla="*/ 1349418 h 1352613"/>
              <a:gd name="connsiteX6" fmla="*/ 121970 w 1910789"/>
              <a:gd name="connsiteY6" fmla="*/ 1352399 h 1352613"/>
              <a:gd name="connsiteX7" fmla="*/ 8499 w 1910789"/>
              <a:gd name="connsiteY7" fmla="*/ 1224552 h 1352613"/>
              <a:gd name="connsiteX8" fmla="*/ 8499 w 1910789"/>
              <a:gd name="connsiteY8" fmla="*/ 505710 h 1352613"/>
              <a:gd name="connsiteX9" fmla="*/ 40147 w 1910789"/>
              <a:gd name="connsiteY9" fmla="*/ 371602 h 1352613"/>
              <a:gd name="connsiteX10" fmla="*/ 156794 w 1910789"/>
              <a:gd name="connsiteY10" fmla="*/ 323071 h 1352613"/>
              <a:gd name="connsiteX11" fmla="*/ 1762208 w 1910789"/>
              <a:gd name="connsiteY11" fmla="*/ 10773 h 1352613"/>
              <a:gd name="connsiteX12" fmla="*/ 1876118 w 1910789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77048 w 1911719"/>
              <a:gd name="connsiteY0" fmla="*/ 12986 h 1350365"/>
              <a:gd name="connsiteX1" fmla="*/ 1911433 w 1911719"/>
              <a:gd name="connsiteY1" fmla="*/ 135905 h 1350365"/>
              <a:gd name="connsiteX2" fmla="*/ 1911433 w 1911719"/>
              <a:gd name="connsiteY2" fmla="*/ 854747 h 1350365"/>
              <a:gd name="connsiteX3" fmla="*/ 1889203 w 1911719"/>
              <a:gd name="connsiteY3" fmla="*/ 975991 h 1350365"/>
              <a:gd name="connsiteX4" fmla="*/ 1763138 w 1911719"/>
              <a:gd name="connsiteY4" fmla="*/ 1037386 h 1350365"/>
              <a:gd name="connsiteX5" fmla="*/ 157724 w 1911719"/>
              <a:gd name="connsiteY5" fmla="*/ 1349418 h 1350365"/>
              <a:gd name="connsiteX6" fmla="*/ 43612 w 1911719"/>
              <a:gd name="connsiteY6" fmla="*/ 1347594 h 1350365"/>
              <a:gd name="connsiteX7" fmla="*/ 9429 w 1911719"/>
              <a:gd name="connsiteY7" fmla="*/ 1224552 h 1350365"/>
              <a:gd name="connsiteX8" fmla="*/ 9429 w 1911719"/>
              <a:gd name="connsiteY8" fmla="*/ 505710 h 1350365"/>
              <a:gd name="connsiteX9" fmla="*/ 41077 w 1911719"/>
              <a:gd name="connsiteY9" fmla="*/ 371602 h 1350365"/>
              <a:gd name="connsiteX10" fmla="*/ 157724 w 1911719"/>
              <a:gd name="connsiteY10" fmla="*/ 323071 h 1350365"/>
              <a:gd name="connsiteX11" fmla="*/ 1763138 w 1911719"/>
              <a:gd name="connsiteY11" fmla="*/ 10773 h 1350365"/>
              <a:gd name="connsiteX12" fmla="*/ 1877048 w 1911719"/>
              <a:gd name="connsiteY12" fmla="*/ 12986 h 1350365"/>
              <a:gd name="connsiteX0" fmla="*/ 1873126 w 1907797"/>
              <a:gd name="connsiteY0" fmla="*/ 12986 h 1359744"/>
              <a:gd name="connsiteX1" fmla="*/ 1907511 w 1907797"/>
              <a:gd name="connsiteY1" fmla="*/ 135905 h 1359744"/>
              <a:gd name="connsiteX2" fmla="*/ 1907511 w 1907797"/>
              <a:gd name="connsiteY2" fmla="*/ 854747 h 1359744"/>
              <a:gd name="connsiteX3" fmla="*/ 1885281 w 1907797"/>
              <a:gd name="connsiteY3" fmla="*/ 975991 h 1359744"/>
              <a:gd name="connsiteX4" fmla="*/ 1759216 w 1907797"/>
              <a:gd name="connsiteY4" fmla="*/ 1037386 h 1359744"/>
              <a:gd name="connsiteX5" fmla="*/ 153802 w 1907797"/>
              <a:gd name="connsiteY5" fmla="*/ 1349418 h 1359744"/>
              <a:gd name="connsiteX6" fmla="*/ 39690 w 1907797"/>
              <a:gd name="connsiteY6" fmla="*/ 1347594 h 1359744"/>
              <a:gd name="connsiteX7" fmla="*/ 5507 w 1907797"/>
              <a:gd name="connsiteY7" fmla="*/ 1224552 h 1359744"/>
              <a:gd name="connsiteX8" fmla="*/ 5507 w 1907797"/>
              <a:gd name="connsiteY8" fmla="*/ 505710 h 1359744"/>
              <a:gd name="connsiteX9" fmla="*/ 37155 w 1907797"/>
              <a:gd name="connsiteY9" fmla="*/ 371602 h 1359744"/>
              <a:gd name="connsiteX10" fmla="*/ 153802 w 1907797"/>
              <a:gd name="connsiteY10" fmla="*/ 323071 h 1359744"/>
              <a:gd name="connsiteX11" fmla="*/ 1759216 w 1907797"/>
              <a:gd name="connsiteY11" fmla="*/ 10773 h 1359744"/>
              <a:gd name="connsiteX12" fmla="*/ 1873126 w 1907797"/>
              <a:gd name="connsiteY12" fmla="*/ 12986 h 1359744"/>
              <a:gd name="connsiteX0" fmla="*/ 1871434 w 1906105"/>
              <a:gd name="connsiteY0" fmla="*/ 12986 h 1359744"/>
              <a:gd name="connsiteX1" fmla="*/ 1905819 w 1906105"/>
              <a:gd name="connsiteY1" fmla="*/ 135905 h 1359744"/>
              <a:gd name="connsiteX2" fmla="*/ 1905819 w 1906105"/>
              <a:gd name="connsiteY2" fmla="*/ 854747 h 1359744"/>
              <a:gd name="connsiteX3" fmla="*/ 1883589 w 1906105"/>
              <a:gd name="connsiteY3" fmla="*/ 975991 h 1359744"/>
              <a:gd name="connsiteX4" fmla="*/ 1757524 w 1906105"/>
              <a:gd name="connsiteY4" fmla="*/ 1037386 h 1359744"/>
              <a:gd name="connsiteX5" fmla="*/ 152110 w 1906105"/>
              <a:gd name="connsiteY5" fmla="*/ 1349418 h 1359744"/>
              <a:gd name="connsiteX6" fmla="*/ 37998 w 1906105"/>
              <a:gd name="connsiteY6" fmla="*/ 1347594 h 1359744"/>
              <a:gd name="connsiteX7" fmla="*/ 3815 w 1906105"/>
              <a:gd name="connsiteY7" fmla="*/ 1224552 h 1359744"/>
              <a:gd name="connsiteX8" fmla="*/ 3815 w 1906105"/>
              <a:gd name="connsiteY8" fmla="*/ 505710 h 1359744"/>
              <a:gd name="connsiteX9" fmla="*/ 35463 w 1906105"/>
              <a:gd name="connsiteY9" fmla="*/ 371602 h 1359744"/>
              <a:gd name="connsiteX10" fmla="*/ 152110 w 1906105"/>
              <a:gd name="connsiteY10" fmla="*/ 323071 h 1359744"/>
              <a:gd name="connsiteX11" fmla="*/ 1757524 w 1906105"/>
              <a:gd name="connsiteY11" fmla="*/ 10773 h 1359744"/>
              <a:gd name="connsiteX12" fmla="*/ 1871434 w 1906105"/>
              <a:gd name="connsiteY12" fmla="*/ 12986 h 1359744"/>
              <a:gd name="connsiteX0" fmla="*/ 1867619 w 1902290"/>
              <a:gd name="connsiteY0" fmla="*/ 12986 h 1362553"/>
              <a:gd name="connsiteX1" fmla="*/ 1902004 w 1902290"/>
              <a:gd name="connsiteY1" fmla="*/ 135905 h 1362553"/>
              <a:gd name="connsiteX2" fmla="*/ 1902004 w 1902290"/>
              <a:gd name="connsiteY2" fmla="*/ 854747 h 1362553"/>
              <a:gd name="connsiteX3" fmla="*/ 1879774 w 1902290"/>
              <a:gd name="connsiteY3" fmla="*/ 975991 h 1362553"/>
              <a:gd name="connsiteX4" fmla="*/ 1753709 w 1902290"/>
              <a:gd name="connsiteY4" fmla="*/ 1037386 h 1362553"/>
              <a:gd name="connsiteX5" fmla="*/ 148295 w 1902290"/>
              <a:gd name="connsiteY5" fmla="*/ 1349418 h 1362553"/>
              <a:gd name="connsiteX6" fmla="*/ 34183 w 1902290"/>
              <a:gd name="connsiteY6" fmla="*/ 1347594 h 1362553"/>
              <a:gd name="connsiteX7" fmla="*/ 0 w 1902290"/>
              <a:gd name="connsiteY7" fmla="*/ 1224552 h 1362553"/>
              <a:gd name="connsiteX8" fmla="*/ 0 w 1902290"/>
              <a:gd name="connsiteY8" fmla="*/ 505710 h 1362553"/>
              <a:gd name="connsiteX9" fmla="*/ 31648 w 1902290"/>
              <a:gd name="connsiteY9" fmla="*/ 371602 h 1362553"/>
              <a:gd name="connsiteX10" fmla="*/ 148295 w 1902290"/>
              <a:gd name="connsiteY10" fmla="*/ 323071 h 1362553"/>
              <a:gd name="connsiteX11" fmla="*/ 1753709 w 1902290"/>
              <a:gd name="connsiteY11" fmla="*/ 10773 h 1362553"/>
              <a:gd name="connsiteX12" fmla="*/ 1867619 w 1902290"/>
              <a:gd name="connsiteY12" fmla="*/ 12986 h 1362553"/>
              <a:gd name="connsiteX0" fmla="*/ 1867619 w 1902290"/>
              <a:gd name="connsiteY0" fmla="*/ 12986 h 1362704"/>
              <a:gd name="connsiteX1" fmla="*/ 1902004 w 1902290"/>
              <a:gd name="connsiteY1" fmla="*/ 135905 h 1362704"/>
              <a:gd name="connsiteX2" fmla="*/ 1902004 w 1902290"/>
              <a:gd name="connsiteY2" fmla="*/ 854747 h 1362704"/>
              <a:gd name="connsiteX3" fmla="*/ 1879774 w 1902290"/>
              <a:gd name="connsiteY3" fmla="*/ 975991 h 1362704"/>
              <a:gd name="connsiteX4" fmla="*/ 1753709 w 1902290"/>
              <a:gd name="connsiteY4" fmla="*/ 1037386 h 1362704"/>
              <a:gd name="connsiteX5" fmla="*/ 148295 w 1902290"/>
              <a:gd name="connsiteY5" fmla="*/ 1349418 h 1362704"/>
              <a:gd name="connsiteX6" fmla="*/ 34183 w 1902290"/>
              <a:gd name="connsiteY6" fmla="*/ 1347594 h 1362704"/>
              <a:gd name="connsiteX7" fmla="*/ 0 w 1902290"/>
              <a:gd name="connsiteY7" fmla="*/ 1224552 h 1362704"/>
              <a:gd name="connsiteX8" fmla="*/ 0 w 1902290"/>
              <a:gd name="connsiteY8" fmla="*/ 505710 h 1362704"/>
              <a:gd name="connsiteX9" fmla="*/ 31648 w 1902290"/>
              <a:gd name="connsiteY9" fmla="*/ 371602 h 1362704"/>
              <a:gd name="connsiteX10" fmla="*/ 148295 w 1902290"/>
              <a:gd name="connsiteY10" fmla="*/ 323071 h 1362704"/>
              <a:gd name="connsiteX11" fmla="*/ 1753709 w 1902290"/>
              <a:gd name="connsiteY11" fmla="*/ 10773 h 1362704"/>
              <a:gd name="connsiteX12" fmla="*/ 1867619 w 1902290"/>
              <a:gd name="connsiteY12" fmla="*/ 12986 h 1362704"/>
              <a:gd name="connsiteX0" fmla="*/ 1867619 w 1902290"/>
              <a:gd name="connsiteY0" fmla="*/ 12986 h 1360287"/>
              <a:gd name="connsiteX1" fmla="*/ 1902004 w 1902290"/>
              <a:gd name="connsiteY1" fmla="*/ 135905 h 1360287"/>
              <a:gd name="connsiteX2" fmla="*/ 1902004 w 1902290"/>
              <a:gd name="connsiteY2" fmla="*/ 854747 h 1360287"/>
              <a:gd name="connsiteX3" fmla="*/ 1879774 w 1902290"/>
              <a:gd name="connsiteY3" fmla="*/ 975991 h 1360287"/>
              <a:gd name="connsiteX4" fmla="*/ 1753709 w 1902290"/>
              <a:gd name="connsiteY4" fmla="*/ 1037386 h 1360287"/>
              <a:gd name="connsiteX5" fmla="*/ 148295 w 1902290"/>
              <a:gd name="connsiteY5" fmla="*/ 1349418 h 1360287"/>
              <a:gd name="connsiteX6" fmla="*/ 34183 w 1902290"/>
              <a:gd name="connsiteY6" fmla="*/ 1347594 h 1360287"/>
              <a:gd name="connsiteX7" fmla="*/ 0 w 1902290"/>
              <a:gd name="connsiteY7" fmla="*/ 1224552 h 1360287"/>
              <a:gd name="connsiteX8" fmla="*/ 0 w 1902290"/>
              <a:gd name="connsiteY8" fmla="*/ 505710 h 1360287"/>
              <a:gd name="connsiteX9" fmla="*/ 31648 w 1902290"/>
              <a:gd name="connsiteY9" fmla="*/ 371602 h 1360287"/>
              <a:gd name="connsiteX10" fmla="*/ 148295 w 1902290"/>
              <a:gd name="connsiteY10" fmla="*/ 323071 h 1360287"/>
              <a:gd name="connsiteX11" fmla="*/ 1753709 w 1902290"/>
              <a:gd name="connsiteY11" fmla="*/ 10773 h 1360287"/>
              <a:gd name="connsiteX12" fmla="*/ 1867619 w 1902290"/>
              <a:gd name="connsiteY12" fmla="*/ 12986 h 1360287"/>
              <a:gd name="connsiteX0" fmla="*/ 1867619 w 1902290"/>
              <a:gd name="connsiteY0" fmla="*/ 12986 h 1358026"/>
              <a:gd name="connsiteX1" fmla="*/ 1902004 w 1902290"/>
              <a:gd name="connsiteY1" fmla="*/ 135905 h 1358026"/>
              <a:gd name="connsiteX2" fmla="*/ 1902004 w 1902290"/>
              <a:gd name="connsiteY2" fmla="*/ 854747 h 1358026"/>
              <a:gd name="connsiteX3" fmla="*/ 1879774 w 1902290"/>
              <a:gd name="connsiteY3" fmla="*/ 975991 h 1358026"/>
              <a:gd name="connsiteX4" fmla="*/ 1753709 w 1902290"/>
              <a:gd name="connsiteY4" fmla="*/ 1037386 h 1358026"/>
              <a:gd name="connsiteX5" fmla="*/ 149096 w 1902290"/>
              <a:gd name="connsiteY5" fmla="*/ 1349418 h 1358026"/>
              <a:gd name="connsiteX6" fmla="*/ 34183 w 1902290"/>
              <a:gd name="connsiteY6" fmla="*/ 1347594 h 1358026"/>
              <a:gd name="connsiteX7" fmla="*/ 0 w 1902290"/>
              <a:gd name="connsiteY7" fmla="*/ 1224552 h 1358026"/>
              <a:gd name="connsiteX8" fmla="*/ 0 w 1902290"/>
              <a:gd name="connsiteY8" fmla="*/ 505710 h 1358026"/>
              <a:gd name="connsiteX9" fmla="*/ 31648 w 1902290"/>
              <a:gd name="connsiteY9" fmla="*/ 371602 h 1358026"/>
              <a:gd name="connsiteX10" fmla="*/ 148295 w 1902290"/>
              <a:gd name="connsiteY10" fmla="*/ 323071 h 1358026"/>
              <a:gd name="connsiteX11" fmla="*/ 1753709 w 1902290"/>
              <a:gd name="connsiteY11" fmla="*/ 10773 h 1358026"/>
              <a:gd name="connsiteX12" fmla="*/ 1867619 w 1902290"/>
              <a:gd name="connsiteY12" fmla="*/ 12986 h 1358026"/>
              <a:gd name="connsiteX0" fmla="*/ 1867619 w 1902290"/>
              <a:gd name="connsiteY0" fmla="*/ 12986 h 1359434"/>
              <a:gd name="connsiteX1" fmla="*/ 1902004 w 1902290"/>
              <a:gd name="connsiteY1" fmla="*/ 135905 h 1359434"/>
              <a:gd name="connsiteX2" fmla="*/ 1902004 w 1902290"/>
              <a:gd name="connsiteY2" fmla="*/ 854747 h 1359434"/>
              <a:gd name="connsiteX3" fmla="*/ 1879774 w 1902290"/>
              <a:gd name="connsiteY3" fmla="*/ 975991 h 1359434"/>
              <a:gd name="connsiteX4" fmla="*/ 1753709 w 1902290"/>
              <a:gd name="connsiteY4" fmla="*/ 1037386 h 1359434"/>
              <a:gd name="connsiteX5" fmla="*/ 149096 w 1902290"/>
              <a:gd name="connsiteY5" fmla="*/ 1349418 h 1359434"/>
              <a:gd name="connsiteX6" fmla="*/ 34183 w 1902290"/>
              <a:gd name="connsiteY6" fmla="*/ 1347594 h 1359434"/>
              <a:gd name="connsiteX7" fmla="*/ 0 w 1902290"/>
              <a:gd name="connsiteY7" fmla="*/ 1224552 h 1359434"/>
              <a:gd name="connsiteX8" fmla="*/ 0 w 1902290"/>
              <a:gd name="connsiteY8" fmla="*/ 505710 h 1359434"/>
              <a:gd name="connsiteX9" fmla="*/ 31648 w 1902290"/>
              <a:gd name="connsiteY9" fmla="*/ 371602 h 1359434"/>
              <a:gd name="connsiteX10" fmla="*/ 148295 w 1902290"/>
              <a:gd name="connsiteY10" fmla="*/ 323071 h 1359434"/>
              <a:gd name="connsiteX11" fmla="*/ 1753709 w 1902290"/>
              <a:gd name="connsiteY11" fmla="*/ 10773 h 1359434"/>
              <a:gd name="connsiteX12" fmla="*/ 1867619 w 1902290"/>
              <a:gd name="connsiteY12" fmla="*/ 12986 h 1359434"/>
              <a:gd name="connsiteX0" fmla="*/ 1867619 w 1902290"/>
              <a:gd name="connsiteY0" fmla="*/ 12986 h 1358913"/>
              <a:gd name="connsiteX1" fmla="*/ 1902004 w 1902290"/>
              <a:gd name="connsiteY1" fmla="*/ 135905 h 1358913"/>
              <a:gd name="connsiteX2" fmla="*/ 1902004 w 1902290"/>
              <a:gd name="connsiteY2" fmla="*/ 854747 h 1358913"/>
              <a:gd name="connsiteX3" fmla="*/ 1879774 w 1902290"/>
              <a:gd name="connsiteY3" fmla="*/ 975991 h 1358913"/>
              <a:gd name="connsiteX4" fmla="*/ 1753709 w 1902290"/>
              <a:gd name="connsiteY4" fmla="*/ 1037386 h 1358913"/>
              <a:gd name="connsiteX5" fmla="*/ 149096 w 1902290"/>
              <a:gd name="connsiteY5" fmla="*/ 1349418 h 1358913"/>
              <a:gd name="connsiteX6" fmla="*/ 34183 w 1902290"/>
              <a:gd name="connsiteY6" fmla="*/ 1347594 h 1358913"/>
              <a:gd name="connsiteX7" fmla="*/ 0 w 1902290"/>
              <a:gd name="connsiteY7" fmla="*/ 1224552 h 1358913"/>
              <a:gd name="connsiteX8" fmla="*/ 0 w 1902290"/>
              <a:gd name="connsiteY8" fmla="*/ 505710 h 1358913"/>
              <a:gd name="connsiteX9" fmla="*/ 31648 w 1902290"/>
              <a:gd name="connsiteY9" fmla="*/ 371602 h 1358913"/>
              <a:gd name="connsiteX10" fmla="*/ 148295 w 1902290"/>
              <a:gd name="connsiteY10" fmla="*/ 323071 h 1358913"/>
              <a:gd name="connsiteX11" fmla="*/ 1753709 w 1902290"/>
              <a:gd name="connsiteY11" fmla="*/ 10773 h 1358913"/>
              <a:gd name="connsiteX12" fmla="*/ 1867619 w 1902290"/>
              <a:gd name="connsiteY12" fmla="*/ 12986 h 1358913"/>
              <a:gd name="connsiteX0" fmla="*/ 1867619 w 1902290"/>
              <a:gd name="connsiteY0" fmla="*/ 12986 h 1360761"/>
              <a:gd name="connsiteX1" fmla="*/ 1902004 w 1902290"/>
              <a:gd name="connsiteY1" fmla="*/ 135905 h 1360761"/>
              <a:gd name="connsiteX2" fmla="*/ 1902004 w 1902290"/>
              <a:gd name="connsiteY2" fmla="*/ 854747 h 1360761"/>
              <a:gd name="connsiteX3" fmla="*/ 1879774 w 1902290"/>
              <a:gd name="connsiteY3" fmla="*/ 975991 h 1360761"/>
              <a:gd name="connsiteX4" fmla="*/ 1753709 w 1902290"/>
              <a:gd name="connsiteY4" fmla="*/ 1037386 h 1360761"/>
              <a:gd name="connsiteX5" fmla="*/ 149096 w 1902290"/>
              <a:gd name="connsiteY5" fmla="*/ 1349418 h 1360761"/>
              <a:gd name="connsiteX6" fmla="*/ 34183 w 1902290"/>
              <a:gd name="connsiteY6" fmla="*/ 1347594 h 1360761"/>
              <a:gd name="connsiteX7" fmla="*/ 0 w 1902290"/>
              <a:gd name="connsiteY7" fmla="*/ 1224552 h 1360761"/>
              <a:gd name="connsiteX8" fmla="*/ 0 w 1902290"/>
              <a:gd name="connsiteY8" fmla="*/ 505710 h 1360761"/>
              <a:gd name="connsiteX9" fmla="*/ 31648 w 1902290"/>
              <a:gd name="connsiteY9" fmla="*/ 371602 h 1360761"/>
              <a:gd name="connsiteX10" fmla="*/ 148295 w 1902290"/>
              <a:gd name="connsiteY10" fmla="*/ 323071 h 1360761"/>
              <a:gd name="connsiteX11" fmla="*/ 1753709 w 1902290"/>
              <a:gd name="connsiteY11" fmla="*/ 10773 h 1360761"/>
              <a:gd name="connsiteX12" fmla="*/ 1867619 w 1902290"/>
              <a:gd name="connsiteY12" fmla="*/ 12986 h 1360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2290" h="1360761">
                <a:moveTo>
                  <a:pt x="1867619" y="12986"/>
                </a:moveTo>
                <a:cubicBezTo>
                  <a:pt x="1905082" y="38138"/>
                  <a:pt x="1902668" y="77924"/>
                  <a:pt x="1902004" y="135905"/>
                </a:cubicBezTo>
                <a:lnTo>
                  <a:pt x="1902004" y="854747"/>
                </a:lnTo>
                <a:cubicBezTo>
                  <a:pt x="1902627" y="907312"/>
                  <a:pt x="1901317" y="946976"/>
                  <a:pt x="1879774" y="975991"/>
                </a:cubicBezTo>
                <a:cubicBezTo>
                  <a:pt x="1849087" y="1017321"/>
                  <a:pt x="1823646" y="1024002"/>
                  <a:pt x="1753709" y="1037386"/>
                </a:cubicBezTo>
                <a:lnTo>
                  <a:pt x="149096" y="1349418"/>
                </a:lnTo>
                <a:cubicBezTo>
                  <a:pt x="112072" y="1358514"/>
                  <a:pt x="61662" y="1370426"/>
                  <a:pt x="34183" y="1347594"/>
                </a:cubicBezTo>
                <a:cubicBezTo>
                  <a:pt x="2177" y="1321001"/>
                  <a:pt x="37" y="1293594"/>
                  <a:pt x="0" y="1224552"/>
                </a:cubicBezTo>
                <a:lnTo>
                  <a:pt x="0" y="505710"/>
                </a:lnTo>
                <a:cubicBezTo>
                  <a:pt x="405" y="458533"/>
                  <a:pt x="-1141" y="411457"/>
                  <a:pt x="31648" y="371602"/>
                </a:cubicBezTo>
                <a:cubicBezTo>
                  <a:pt x="64437" y="331747"/>
                  <a:pt x="96933" y="331260"/>
                  <a:pt x="148295" y="323071"/>
                </a:cubicBezTo>
                <a:lnTo>
                  <a:pt x="1753709" y="10773"/>
                </a:lnTo>
                <a:cubicBezTo>
                  <a:pt x="1812984" y="-504"/>
                  <a:pt x="1837468" y="-7257"/>
                  <a:pt x="1867619" y="12986"/>
                </a:cubicBezTo>
                <a:close/>
              </a:path>
            </a:pathLst>
          </a:custGeom>
          <a:gradFill>
            <a:gsLst>
              <a:gs pos="50000">
                <a:schemeClr val="accent4"/>
              </a:gs>
              <a:gs pos="0">
                <a:schemeClr val="tx1"/>
              </a:gs>
              <a:gs pos="100000">
                <a:schemeClr val="accent5"/>
              </a:gs>
            </a:gsLst>
            <a:lin ang="0" scaled="0"/>
          </a:gradFill>
        </p:spPr>
        <p:txBody>
          <a:bodyPr wrap="square" lIns="216000" tIns="576000" rIns="144000" bIns="360000" anchor="t" anchorCtr="0">
            <a:normAutofit/>
          </a:bodyPr>
          <a:lstStyle>
            <a:lvl1pPr algn="l">
              <a:lnSpc>
                <a:spcPct val="90000"/>
              </a:lnSpc>
              <a:defRPr sz="14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Edit the titl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F8C2B7F-F2FC-47A0-9BB8-7750509552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4253EC9-D4C3-40CA-B15D-1F267382B6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858970790"/>
      </p:ext>
    </p:extLst>
  </p:cSld>
  <p:clrMapOvr>
    <a:masterClrMapping/>
  </p:clrMapOvr>
  <p:transition spd="slow">
    <p:wip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nde image +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29009D1B-2B2E-411A-A677-1A47999588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9144000" cy="3810000"/>
          </a:xfrm>
          <a:custGeom>
            <a:avLst/>
            <a:gdLst>
              <a:gd name="connsiteX0" fmla="*/ 0 w 9144000"/>
              <a:gd name="connsiteY0" fmla="*/ 0 h 3810000"/>
              <a:gd name="connsiteX1" fmla="*/ 9144000 w 9144000"/>
              <a:gd name="connsiteY1" fmla="*/ 0 h 3810000"/>
              <a:gd name="connsiteX2" fmla="*/ 9144000 w 9144000"/>
              <a:gd name="connsiteY2" fmla="*/ 3810000 h 3810000"/>
              <a:gd name="connsiteX3" fmla="*/ 8792773 w 9144000"/>
              <a:gd name="connsiteY3" fmla="*/ 3810000 h 3810000"/>
              <a:gd name="connsiteX4" fmla="*/ 8792773 w 9144000"/>
              <a:gd name="connsiteY4" fmla="*/ 2959725 h 3810000"/>
              <a:gd name="connsiteX5" fmla="*/ 8746188 w 9144000"/>
              <a:gd name="connsiteY5" fmla="*/ 2793192 h 3810000"/>
              <a:gd name="connsiteX6" fmla="*/ 8591861 w 9144000"/>
              <a:gd name="connsiteY6" fmla="*/ 2790194 h 3810000"/>
              <a:gd name="connsiteX7" fmla="*/ 6416819 w 9144000"/>
              <a:gd name="connsiteY7" fmla="*/ 3213300 h 3810000"/>
              <a:gd name="connsiteX8" fmla="*/ 6258783 w 9144000"/>
              <a:gd name="connsiteY8" fmla="*/ 3279051 h 3810000"/>
              <a:gd name="connsiteX9" fmla="*/ 6215906 w 9144000"/>
              <a:gd name="connsiteY9" fmla="*/ 3460743 h 3810000"/>
              <a:gd name="connsiteX10" fmla="*/ 6215906 w 9144000"/>
              <a:gd name="connsiteY10" fmla="*/ 3810000 h 3810000"/>
              <a:gd name="connsiteX11" fmla="*/ 0 w 9144000"/>
              <a:gd name="connsiteY11" fmla="*/ 381000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4000" h="3810000">
                <a:moveTo>
                  <a:pt x="0" y="0"/>
                </a:moveTo>
                <a:lnTo>
                  <a:pt x="9144000" y="0"/>
                </a:lnTo>
                <a:lnTo>
                  <a:pt x="9144000" y="3810000"/>
                </a:lnTo>
                <a:lnTo>
                  <a:pt x="8792773" y="3810000"/>
                </a:lnTo>
                <a:lnTo>
                  <a:pt x="8792773" y="2959725"/>
                </a:lnTo>
                <a:cubicBezTo>
                  <a:pt x="8793673" y="2881171"/>
                  <a:pt x="8796944" y="2827268"/>
                  <a:pt x="8746188" y="2793192"/>
                </a:cubicBezTo>
                <a:cubicBezTo>
                  <a:pt x="8705339" y="2765766"/>
                  <a:pt x="8672168" y="2774915"/>
                  <a:pt x="8591861" y="2790194"/>
                </a:cubicBezTo>
                <a:lnTo>
                  <a:pt x="6416819" y="3213300"/>
                </a:lnTo>
                <a:cubicBezTo>
                  <a:pt x="6347233" y="3224395"/>
                  <a:pt x="6303207" y="3225055"/>
                  <a:pt x="6258783" y="3279051"/>
                </a:cubicBezTo>
                <a:cubicBezTo>
                  <a:pt x="6214360" y="3333047"/>
                  <a:pt x="6216455" y="3396826"/>
                  <a:pt x="6215906" y="3460743"/>
                </a:cubicBezTo>
                <a:lnTo>
                  <a:pt x="6215906" y="3810000"/>
                </a:lnTo>
                <a:lnTo>
                  <a:pt x="0" y="3810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22572C44-6B98-4C76-BF19-B58310C03EA1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ABD3710F-0552-4936-BD67-EFA1F55EF606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47" name="Connecteur droit 46">
              <a:extLst>
                <a:ext uri="{FF2B5EF4-FFF2-40B4-BE49-F238E27FC236}">
                  <a16:creationId xmlns:a16="http://schemas.microsoft.com/office/drawing/2014/main" id="{35EF02FC-47B6-4B91-99D5-62181834A079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id="{4CD56F71-2D4F-4E7D-BCDE-080C81A03AE7}"/>
                </a:ext>
              </a:extLst>
            </p:cNvPr>
            <p:cNvCxnSpPr/>
            <p:nvPr userDrawn="1"/>
          </p:nvCxnSpPr>
          <p:spPr>
            <a:xfrm flipH="1">
              <a:off x="-252536" y="2606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Image 48">
            <a:extLst>
              <a:ext uri="{FF2B5EF4-FFF2-40B4-BE49-F238E27FC236}">
                <a16:creationId xmlns:a16="http://schemas.microsoft.com/office/drawing/2014/main" id="{60333338-DE4E-40ED-9DB6-2DFB675D2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2" name="Titre 41">
            <a:extLst>
              <a:ext uri="{FF2B5EF4-FFF2-40B4-BE49-F238E27FC236}">
                <a16:creationId xmlns:a16="http://schemas.microsoft.com/office/drawing/2014/main" id="{F14351B7-4B85-4EC0-AD2F-742EE77C4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177" y="2776410"/>
            <a:ext cx="2577255" cy="1843582"/>
          </a:xfrm>
          <a:custGeom>
            <a:avLst/>
            <a:gdLst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704"/>
              <a:gd name="connsiteY0" fmla="*/ 227 h 1345049"/>
              <a:gd name="connsiteX1" fmla="*/ 1902222 w 1902704"/>
              <a:gd name="connsiteY1" fmla="*/ 128341 h 1345049"/>
              <a:gd name="connsiteX2" fmla="*/ 1902222 w 1902704"/>
              <a:gd name="connsiteY2" fmla="*/ 847183 h 1345049"/>
              <a:gd name="connsiteX3" fmla="*/ 1753927 w 1902704"/>
              <a:gd name="connsiteY3" fmla="*/ 1029822 h 1345049"/>
              <a:gd name="connsiteX4" fmla="*/ 148513 w 1902704"/>
              <a:gd name="connsiteY4" fmla="*/ 1341854 h 1345049"/>
              <a:gd name="connsiteX5" fmla="*/ 113689 w 1902704"/>
              <a:gd name="connsiteY5" fmla="*/ 1344835 h 1345049"/>
              <a:gd name="connsiteX6" fmla="*/ 218 w 1902704"/>
              <a:gd name="connsiteY6" fmla="*/ 1216988 h 1345049"/>
              <a:gd name="connsiteX7" fmla="*/ 218 w 1902704"/>
              <a:gd name="connsiteY7" fmla="*/ 498146 h 1345049"/>
              <a:gd name="connsiteX8" fmla="*/ 148513 w 1902704"/>
              <a:gd name="connsiteY8" fmla="*/ 315507 h 1345049"/>
              <a:gd name="connsiteX9" fmla="*/ 1753927 w 1902704"/>
              <a:gd name="connsiteY9" fmla="*/ 3209 h 1345049"/>
              <a:gd name="connsiteX10" fmla="*/ 1789045 w 1902704"/>
              <a:gd name="connsiteY10" fmla="*/ 227 h 1345049"/>
              <a:gd name="connsiteX0" fmla="*/ 1789045 w 1917127"/>
              <a:gd name="connsiteY0" fmla="*/ 227 h 1345049"/>
              <a:gd name="connsiteX1" fmla="*/ 1902222 w 1917127"/>
              <a:gd name="connsiteY1" fmla="*/ 128341 h 1345049"/>
              <a:gd name="connsiteX2" fmla="*/ 1902222 w 1917127"/>
              <a:gd name="connsiteY2" fmla="*/ 847183 h 1345049"/>
              <a:gd name="connsiteX3" fmla="*/ 1879992 w 1917127"/>
              <a:gd name="connsiteY3" fmla="*/ 968427 h 1345049"/>
              <a:gd name="connsiteX4" fmla="*/ 1753927 w 1917127"/>
              <a:gd name="connsiteY4" fmla="*/ 1029822 h 1345049"/>
              <a:gd name="connsiteX5" fmla="*/ 148513 w 1917127"/>
              <a:gd name="connsiteY5" fmla="*/ 1341854 h 1345049"/>
              <a:gd name="connsiteX6" fmla="*/ 113689 w 1917127"/>
              <a:gd name="connsiteY6" fmla="*/ 1344835 h 1345049"/>
              <a:gd name="connsiteX7" fmla="*/ 218 w 1917127"/>
              <a:gd name="connsiteY7" fmla="*/ 1216988 h 1345049"/>
              <a:gd name="connsiteX8" fmla="*/ 218 w 1917127"/>
              <a:gd name="connsiteY8" fmla="*/ 498146 h 1345049"/>
              <a:gd name="connsiteX9" fmla="*/ 148513 w 1917127"/>
              <a:gd name="connsiteY9" fmla="*/ 315507 h 1345049"/>
              <a:gd name="connsiteX10" fmla="*/ 1753927 w 1917127"/>
              <a:gd name="connsiteY10" fmla="*/ 3209 h 1345049"/>
              <a:gd name="connsiteX11" fmla="*/ 1789045 w 191712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865239 w 1910449"/>
              <a:gd name="connsiteY0" fmla="*/ 6256 h 1342420"/>
              <a:gd name="connsiteX1" fmla="*/ 1902222 w 1910449"/>
              <a:gd name="connsiteY1" fmla="*/ 125712 h 1342420"/>
              <a:gd name="connsiteX2" fmla="*/ 1902222 w 1910449"/>
              <a:gd name="connsiteY2" fmla="*/ 844554 h 1342420"/>
              <a:gd name="connsiteX3" fmla="*/ 1879992 w 1910449"/>
              <a:gd name="connsiteY3" fmla="*/ 965798 h 1342420"/>
              <a:gd name="connsiteX4" fmla="*/ 1753927 w 1910449"/>
              <a:gd name="connsiteY4" fmla="*/ 1027193 h 1342420"/>
              <a:gd name="connsiteX5" fmla="*/ 148513 w 1910449"/>
              <a:gd name="connsiteY5" fmla="*/ 1339225 h 1342420"/>
              <a:gd name="connsiteX6" fmla="*/ 113689 w 1910449"/>
              <a:gd name="connsiteY6" fmla="*/ 1342206 h 1342420"/>
              <a:gd name="connsiteX7" fmla="*/ 218 w 1910449"/>
              <a:gd name="connsiteY7" fmla="*/ 1214359 h 1342420"/>
              <a:gd name="connsiteX8" fmla="*/ 218 w 1910449"/>
              <a:gd name="connsiteY8" fmla="*/ 495517 h 1342420"/>
              <a:gd name="connsiteX9" fmla="*/ 148513 w 1910449"/>
              <a:gd name="connsiteY9" fmla="*/ 312878 h 1342420"/>
              <a:gd name="connsiteX10" fmla="*/ 1753927 w 1910449"/>
              <a:gd name="connsiteY10" fmla="*/ 580 h 1342420"/>
              <a:gd name="connsiteX11" fmla="*/ 1865239 w 1910449"/>
              <a:gd name="connsiteY11" fmla="*/ 6256 h 1342420"/>
              <a:gd name="connsiteX0" fmla="*/ 1865239 w 1902954"/>
              <a:gd name="connsiteY0" fmla="*/ 6256 h 1342420"/>
              <a:gd name="connsiteX1" fmla="*/ 1902222 w 1902954"/>
              <a:gd name="connsiteY1" fmla="*/ 125712 h 1342420"/>
              <a:gd name="connsiteX2" fmla="*/ 1902222 w 1902954"/>
              <a:gd name="connsiteY2" fmla="*/ 844554 h 1342420"/>
              <a:gd name="connsiteX3" fmla="*/ 1879992 w 1902954"/>
              <a:gd name="connsiteY3" fmla="*/ 965798 h 1342420"/>
              <a:gd name="connsiteX4" fmla="*/ 1753927 w 1902954"/>
              <a:gd name="connsiteY4" fmla="*/ 1027193 h 1342420"/>
              <a:gd name="connsiteX5" fmla="*/ 148513 w 1902954"/>
              <a:gd name="connsiteY5" fmla="*/ 1339225 h 1342420"/>
              <a:gd name="connsiteX6" fmla="*/ 113689 w 1902954"/>
              <a:gd name="connsiteY6" fmla="*/ 1342206 h 1342420"/>
              <a:gd name="connsiteX7" fmla="*/ 218 w 1902954"/>
              <a:gd name="connsiteY7" fmla="*/ 1214359 h 1342420"/>
              <a:gd name="connsiteX8" fmla="*/ 218 w 1902954"/>
              <a:gd name="connsiteY8" fmla="*/ 495517 h 1342420"/>
              <a:gd name="connsiteX9" fmla="*/ 148513 w 1902954"/>
              <a:gd name="connsiteY9" fmla="*/ 312878 h 1342420"/>
              <a:gd name="connsiteX10" fmla="*/ 1753927 w 1902954"/>
              <a:gd name="connsiteY10" fmla="*/ 580 h 1342420"/>
              <a:gd name="connsiteX11" fmla="*/ 1865239 w 1902954"/>
              <a:gd name="connsiteY11" fmla="*/ 6256 h 1342420"/>
              <a:gd name="connsiteX0" fmla="*/ 1865239 w 1910051"/>
              <a:gd name="connsiteY0" fmla="*/ 31812 h 1367976"/>
              <a:gd name="connsiteX1" fmla="*/ 1902222 w 1910051"/>
              <a:gd name="connsiteY1" fmla="*/ 151268 h 1367976"/>
              <a:gd name="connsiteX2" fmla="*/ 1902222 w 1910051"/>
              <a:gd name="connsiteY2" fmla="*/ 870110 h 1367976"/>
              <a:gd name="connsiteX3" fmla="*/ 1879992 w 1910051"/>
              <a:gd name="connsiteY3" fmla="*/ 991354 h 1367976"/>
              <a:gd name="connsiteX4" fmla="*/ 1753927 w 1910051"/>
              <a:gd name="connsiteY4" fmla="*/ 1052749 h 1367976"/>
              <a:gd name="connsiteX5" fmla="*/ 148513 w 1910051"/>
              <a:gd name="connsiteY5" fmla="*/ 1364781 h 1367976"/>
              <a:gd name="connsiteX6" fmla="*/ 113689 w 1910051"/>
              <a:gd name="connsiteY6" fmla="*/ 1367762 h 1367976"/>
              <a:gd name="connsiteX7" fmla="*/ 218 w 1910051"/>
              <a:gd name="connsiteY7" fmla="*/ 1239915 h 1367976"/>
              <a:gd name="connsiteX8" fmla="*/ 218 w 1910051"/>
              <a:gd name="connsiteY8" fmla="*/ 521073 h 1367976"/>
              <a:gd name="connsiteX9" fmla="*/ 148513 w 1910051"/>
              <a:gd name="connsiteY9" fmla="*/ 338434 h 1367976"/>
              <a:gd name="connsiteX10" fmla="*/ 1753927 w 1910051"/>
              <a:gd name="connsiteY10" fmla="*/ 26136 h 1367976"/>
              <a:gd name="connsiteX11" fmla="*/ 1865239 w 1910051"/>
              <a:gd name="connsiteY11" fmla="*/ 31812 h 1367976"/>
              <a:gd name="connsiteX0" fmla="*/ 1865239 w 1902954"/>
              <a:gd name="connsiteY0" fmla="*/ 14204 h 1350368"/>
              <a:gd name="connsiteX1" fmla="*/ 1902222 w 1902954"/>
              <a:gd name="connsiteY1" fmla="*/ 133660 h 1350368"/>
              <a:gd name="connsiteX2" fmla="*/ 1902222 w 1902954"/>
              <a:gd name="connsiteY2" fmla="*/ 852502 h 1350368"/>
              <a:gd name="connsiteX3" fmla="*/ 1879992 w 1902954"/>
              <a:gd name="connsiteY3" fmla="*/ 973746 h 1350368"/>
              <a:gd name="connsiteX4" fmla="*/ 1753927 w 1902954"/>
              <a:gd name="connsiteY4" fmla="*/ 1035141 h 1350368"/>
              <a:gd name="connsiteX5" fmla="*/ 148513 w 1902954"/>
              <a:gd name="connsiteY5" fmla="*/ 1347173 h 1350368"/>
              <a:gd name="connsiteX6" fmla="*/ 113689 w 1902954"/>
              <a:gd name="connsiteY6" fmla="*/ 1350154 h 1350368"/>
              <a:gd name="connsiteX7" fmla="*/ 218 w 1902954"/>
              <a:gd name="connsiteY7" fmla="*/ 1222307 h 1350368"/>
              <a:gd name="connsiteX8" fmla="*/ 218 w 1902954"/>
              <a:gd name="connsiteY8" fmla="*/ 503465 h 1350368"/>
              <a:gd name="connsiteX9" fmla="*/ 148513 w 1902954"/>
              <a:gd name="connsiteY9" fmla="*/ 320826 h 1350368"/>
              <a:gd name="connsiteX10" fmla="*/ 1753927 w 1902954"/>
              <a:gd name="connsiteY10" fmla="*/ 8528 h 1350368"/>
              <a:gd name="connsiteX11" fmla="*/ 1865239 w 1902954"/>
              <a:gd name="connsiteY11" fmla="*/ 14204 h 1350368"/>
              <a:gd name="connsiteX0" fmla="*/ 1866971 w 1903028"/>
              <a:gd name="connsiteY0" fmla="*/ 13777 h 1350807"/>
              <a:gd name="connsiteX1" fmla="*/ 1902222 w 1903028"/>
              <a:gd name="connsiteY1" fmla="*/ 134099 h 1350807"/>
              <a:gd name="connsiteX2" fmla="*/ 1902222 w 1903028"/>
              <a:gd name="connsiteY2" fmla="*/ 852941 h 1350807"/>
              <a:gd name="connsiteX3" fmla="*/ 1879992 w 1903028"/>
              <a:gd name="connsiteY3" fmla="*/ 974185 h 1350807"/>
              <a:gd name="connsiteX4" fmla="*/ 1753927 w 1903028"/>
              <a:gd name="connsiteY4" fmla="*/ 1035580 h 1350807"/>
              <a:gd name="connsiteX5" fmla="*/ 148513 w 1903028"/>
              <a:gd name="connsiteY5" fmla="*/ 1347612 h 1350807"/>
              <a:gd name="connsiteX6" fmla="*/ 113689 w 1903028"/>
              <a:gd name="connsiteY6" fmla="*/ 1350593 h 1350807"/>
              <a:gd name="connsiteX7" fmla="*/ 218 w 1903028"/>
              <a:gd name="connsiteY7" fmla="*/ 1222746 h 1350807"/>
              <a:gd name="connsiteX8" fmla="*/ 218 w 1903028"/>
              <a:gd name="connsiteY8" fmla="*/ 503904 h 1350807"/>
              <a:gd name="connsiteX9" fmla="*/ 148513 w 1903028"/>
              <a:gd name="connsiteY9" fmla="*/ 321265 h 1350807"/>
              <a:gd name="connsiteX10" fmla="*/ 1753927 w 1903028"/>
              <a:gd name="connsiteY10" fmla="*/ 8967 h 1350807"/>
              <a:gd name="connsiteX11" fmla="*/ 1866971 w 1903028"/>
              <a:gd name="connsiteY11" fmla="*/ 13777 h 1350807"/>
              <a:gd name="connsiteX0" fmla="*/ 1867837 w 1903070"/>
              <a:gd name="connsiteY0" fmla="*/ 12609 h 1352236"/>
              <a:gd name="connsiteX1" fmla="*/ 1902222 w 1903070"/>
              <a:gd name="connsiteY1" fmla="*/ 135528 h 1352236"/>
              <a:gd name="connsiteX2" fmla="*/ 1902222 w 1903070"/>
              <a:gd name="connsiteY2" fmla="*/ 854370 h 1352236"/>
              <a:gd name="connsiteX3" fmla="*/ 1879992 w 1903070"/>
              <a:gd name="connsiteY3" fmla="*/ 975614 h 1352236"/>
              <a:gd name="connsiteX4" fmla="*/ 1753927 w 1903070"/>
              <a:gd name="connsiteY4" fmla="*/ 1037009 h 1352236"/>
              <a:gd name="connsiteX5" fmla="*/ 148513 w 1903070"/>
              <a:gd name="connsiteY5" fmla="*/ 1349041 h 1352236"/>
              <a:gd name="connsiteX6" fmla="*/ 113689 w 1903070"/>
              <a:gd name="connsiteY6" fmla="*/ 1352022 h 1352236"/>
              <a:gd name="connsiteX7" fmla="*/ 218 w 1903070"/>
              <a:gd name="connsiteY7" fmla="*/ 1224175 h 1352236"/>
              <a:gd name="connsiteX8" fmla="*/ 218 w 1903070"/>
              <a:gd name="connsiteY8" fmla="*/ 505333 h 1352236"/>
              <a:gd name="connsiteX9" fmla="*/ 148513 w 1903070"/>
              <a:gd name="connsiteY9" fmla="*/ 322694 h 1352236"/>
              <a:gd name="connsiteX10" fmla="*/ 1753927 w 1903070"/>
              <a:gd name="connsiteY10" fmla="*/ 10396 h 1352236"/>
              <a:gd name="connsiteX11" fmla="*/ 1867837 w 1903070"/>
              <a:gd name="connsiteY11" fmla="*/ 12609 h 1352236"/>
              <a:gd name="connsiteX0" fmla="*/ 1867837 w 1903114"/>
              <a:gd name="connsiteY0" fmla="*/ 11642 h 1351269"/>
              <a:gd name="connsiteX1" fmla="*/ 1902222 w 1903114"/>
              <a:gd name="connsiteY1" fmla="*/ 134561 h 1351269"/>
              <a:gd name="connsiteX2" fmla="*/ 1902222 w 1903114"/>
              <a:gd name="connsiteY2" fmla="*/ 853403 h 1351269"/>
              <a:gd name="connsiteX3" fmla="*/ 1879992 w 1903114"/>
              <a:gd name="connsiteY3" fmla="*/ 974647 h 1351269"/>
              <a:gd name="connsiteX4" fmla="*/ 1753927 w 1903114"/>
              <a:gd name="connsiteY4" fmla="*/ 1036042 h 1351269"/>
              <a:gd name="connsiteX5" fmla="*/ 148513 w 1903114"/>
              <a:gd name="connsiteY5" fmla="*/ 1348074 h 1351269"/>
              <a:gd name="connsiteX6" fmla="*/ 113689 w 1903114"/>
              <a:gd name="connsiteY6" fmla="*/ 1351055 h 1351269"/>
              <a:gd name="connsiteX7" fmla="*/ 218 w 1903114"/>
              <a:gd name="connsiteY7" fmla="*/ 1223208 h 1351269"/>
              <a:gd name="connsiteX8" fmla="*/ 218 w 1903114"/>
              <a:gd name="connsiteY8" fmla="*/ 504366 h 1351269"/>
              <a:gd name="connsiteX9" fmla="*/ 148513 w 1903114"/>
              <a:gd name="connsiteY9" fmla="*/ 321727 h 1351269"/>
              <a:gd name="connsiteX10" fmla="*/ 1753927 w 1903114"/>
              <a:gd name="connsiteY10" fmla="*/ 9429 h 1351269"/>
              <a:gd name="connsiteX11" fmla="*/ 1867837 w 1903114"/>
              <a:gd name="connsiteY11" fmla="*/ 11642 h 1351269"/>
              <a:gd name="connsiteX0" fmla="*/ 1867837 w 1903042"/>
              <a:gd name="connsiteY0" fmla="*/ 13412 h 1353039"/>
              <a:gd name="connsiteX1" fmla="*/ 1902222 w 1903042"/>
              <a:gd name="connsiteY1" fmla="*/ 136331 h 1353039"/>
              <a:gd name="connsiteX2" fmla="*/ 1902222 w 1903042"/>
              <a:gd name="connsiteY2" fmla="*/ 855173 h 1353039"/>
              <a:gd name="connsiteX3" fmla="*/ 1879992 w 1903042"/>
              <a:gd name="connsiteY3" fmla="*/ 976417 h 1353039"/>
              <a:gd name="connsiteX4" fmla="*/ 1753927 w 1903042"/>
              <a:gd name="connsiteY4" fmla="*/ 1037812 h 1353039"/>
              <a:gd name="connsiteX5" fmla="*/ 148513 w 1903042"/>
              <a:gd name="connsiteY5" fmla="*/ 1349844 h 1353039"/>
              <a:gd name="connsiteX6" fmla="*/ 113689 w 1903042"/>
              <a:gd name="connsiteY6" fmla="*/ 1352825 h 1353039"/>
              <a:gd name="connsiteX7" fmla="*/ 218 w 1903042"/>
              <a:gd name="connsiteY7" fmla="*/ 1224978 h 1353039"/>
              <a:gd name="connsiteX8" fmla="*/ 218 w 1903042"/>
              <a:gd name="connsiteY8" fmla="*/ 506136 h 1353039"/>
              <a:gd name="connsiteX9" fmla="*/ 148513 w 1903042"/>
              <a:gd name="connsiteY9" fmla="*/ 323497 h 1353039"/>
              <a:gd name="connsiteX10" fmla="*/ 1753927 w 1903042"/>
              <a:gd name="connsiteY10" fmla="*/ 11199 h 1353039"/>
              <a:gd name="connsiteX11" fmla="*/ 1867837 w 1903042"/>
              <a:gd name="connsiteY11" fmla="*/ 13412 h 1353039"/>
              <a:gd name="connsiteX0" fmla="*/ 1867837 w 1903351"/>
              <a:gd name="connsiteY0" fmla="*/ 11934 h 1351561"/>
              <a:gd name="connsiteX1" fmla="*/ 1902222 w 1903351"/>
              <a:gd name="connsiteY1" fmla="*/ 134853 h 1351561"/>
              <a:gd name="connsiteX2" fmla="*/ 1902222 w 1903351"/>
              <a:gd name="connsiteY2" fmla="*/ 853695 h 1351561"/>
              <a:gd name="connsiteX3" fmla="*/ 1879992 w 1903351"/>
              <a:gd name="connsiteY3" fmla="*/ 974939 h 1351561"/>
              <a:gd name="connsiteX4" fmla="*/ 1753927 w 1903351"/>
              <a:gd name="connsiteY4" fmla="*/ 1036334 h 1351561"/>
              <a:gd name="connsiteX5" fmla="*/ 148513 w 1903351"/>
              <a:gd name="connsiteY5" fmla="*/ 1348366 h 1351561"/>
              <a:gd name="connsiteX6" fmla="*/ 113689 w 1903351"/>
              <a:gd name="connsiteY6" fmla="*/ 1351347 h 1351561"/>
              <a:gd name="connsiteX7" fmla="*/ 218 w 1903351"/>
              <a:gd name="connsiteY7" fmla="*/ 1223500 h 1351561"/>
              <a:gd name="connsiteX8" fmla="*/ 218 w 1903351"/>
              <a:gd name="connsiteY8" fmla="*/ 504658 h 1351561"/>
              <a:gd name="connsiteX9" fmla="*/ 148513 w 1903351"/>
              <a:gd name="connsiteY9" fmla="*/ 322019 h 1351561"/>
              <a:gd name="connsiteX10" fmla="*/ 1753927 w 1903351"/>
              <a:gd name="connsiteY10" fmla="*/ 9721 h 1351561"/>
              <a:gd name="connsiteX11" fmla="*/ 1867837 w 1903351"/>
              <a:gd name="connsiteY11" fmla="*/ 11934 h 1351561"/>
              <a:gd name="connsiteX0" fmla="*/ 1867837 w 1903351"/>
              <a:gd name="connsiteY0" fmla="*/ 12533 h 1352160"/>
              <a:gd name="connsiteX1" fmla="*/ 1902222 w 1903351"/>
              <a:gd name="connsiteY1" fmla="*/ 135452 h 1352160"/>
              <a:gd name="connsiteX2" fmla="*/ 1902222 w 1903351"/>
              <a:gd name="connsiteY2" fmla="*/ 854294 h 1352160"/>
              <a:gd name="connsiteX3" fmla="*/ 1879992 w 1903351"/>
              <a:gd name="connsiteY3" fmla="*/ 975538 h 1352160"/>
              <a:gd name="connsiteX4" fmla="*/ 1753927 w 1903351"/>
              <a:gd name="connsiteY4" fmla="*/ 1036933 h 1352160"/>
              <a:gd name="connsiteX5" fmla="*/ 148513 w 1903351"/>
              <a:gd name="connsiteY5" fmla="*/ 1348965 h 1352160"/>
              <a:gd name="connsiteX6" fmla="*/ 113689 w 1903351"/>
              <a:gd name="connsiteY6" fmla="*/ 1351946 h 1352160"/>
              <a:gd name="connsiteX7" fmla="*/ 218 w 1903351"/>
              <a:gd name="connsiteY7" fmla="*/ 1224099 h 1352160"/>
              <a:gd name="connsiteX8" fmla="*/ 218 w 1903351"/>
              <a:gd name="connsiteY8" fmla="*/ 505257 h 1352160"/>
              <a:gd name="connsiteX9" fmla="*/ 148513 w 1903351"/>
              <a:gd name="connsiteY9" fmla="*/ 322618 h 1352160"/>
              <a:gd name="connsiteX10" fmla="*/ 1753927 w 1903351"/>
              <a:gd name="connsiteY10" fmla="*/ 10320 h 1352160"/>
              <a:gd name="connsiteX11" fmla="*/ 1867837 w 1903351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148513 w 1902508"/>
              <a:gd name="connsiteY9" fmla="*/ 323071 h 1352613"/>
              <a:gd name="connsiteX10" fmla="*/ 1753927 w 1902508"/>
              <a:gd name="connsiteY10" fmla="*/ 10773 h 1352613"/>
              <a:gd name="connsiteX11" fmla="*/ 1867837 w 1902508"/>
              <a:gd name="connsiteY11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58707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76118 w 1910789"/>
              <a:gd name="connsiteY0" fmla="*/ 12986 h 1352613"/>
              <a:gd name="connsiteX1" fmla="*/ 1910503 w 1910789"/>
              <a:gd name="connsiteY1" fmla="*/ 135905 h 1352613"/>
              <a:gd name="connsiteX2" fmla="*/ 1910503 w 1910789"/>
              <a:gd name="connsiteY2" fmla="*/ 854747 h 1352613"/>
              <a:gd name="connsiteX3" fmla="*/ 1888273 w 1910789"/>
              <a:gd name="connsiteY3" fmla="*/ 975991 h 1352613"/>
              <a:gd name="connsiteX4" fmla="*/ 1762208 w 1910789"/>
              <a:gd name="connsiteY4" fmla="*/ 1037386 h 1352613"/>
              <a:gd name="connsiteX5" fmla="*/ 156794 w 1910789"/>
              <a:gd name="connsiteY5" fmla="*/ 1349418 h 1352613"/>
              <a:gd name="connsiteX6" fmla="*/ 121970 w 1910789"/>
              <a:gd name="connsiteY6" fmla="*/ 1352399 h 1352613"/>
              <a:gd name="connsiteX7" fmla="*/ 8499 w 1910789"/>
              <a:gd name="connsiteY7" fmla="*/ 1224552 h 1352613"/>
              <a:gd name="connsiteX8" fmla="*/ 8499 w 1910789"/>
              <a:gd name="connsiteY8" fmla="*/ 505710 h 1352613"/>
              <a:gd name="connsiteX9" fmla="*/ 40147 w 1910789"/>
              <a:gd name="connsiteY9" fmla="*/ 371602 h 1352613"/>
              <a:gd name="connsiteX10" fmla="*/ 156794 w 1910789"/>
              <a:gd name="connsiteY10" fmla="*/ 323071 h 1352613"/>
              <a:gd name="connsiteX11" fmla="*/ 1762208 w 1910789"/>
              <a:gd name="connsiteY11" fmla="*/ 10773 h 1352613"/>
              <a:gd name="connsiteX12" fmla="*/ 1876118 w 1910789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77048 w 1911719"/>
              <a:gd name="connsiteY0" fmla="*/ 12986 h 1350365"/>
              <a:gd name="connsiteX1" fmla="*/ 1911433 w 1911719"/>
              <a:gd name="connsiteY1" fmla="*/ 135905 h 1350365"/>
              <a:gd name="connsiteX2" fmla="*/ 1911433 w 1911719"/>
              <a:gd name="connsiteY2" fmla="*/ 854747 h 1350365"/>
              <a:gd name="connsiteX3" fmla="*/ 1889203 w 1911719"/>
              <a:gd name="connsiteY3" fmla="*/ 975991 h 1350365"/>
              <a:gd name="connsiteX4" fmla="*/ 1763138 w 1911719"/>
              <a:gd name="connsiteY4" fmla="*/ 1037386 h 1350365"/>
              <a:gd name="connsiteX5" fmla="*/ 157724 w 1911719"/>
              <a:gd name="connsiteY5" fmla="*/ 1349418 h 1350365"/>
              <a:gd name="connsiteX6" fmla="*/ 43612 w 1911719"/>
              <a:gd name="connsiteY6" fmla="*/ 1347594 h 1350365"/>
              <a:gd name="connsiteX7" fmla="*/ 9429 w 1911719"/>
              <a:gd name="connsiteY7" fmla="*/ 1224552 h 1350365"/>
              <a:gd name="connsiteX8" fmla="*/ 9429 w 1911719"/>
              <a:gd name="connsiteY8" fmla="*/ 505710 h 1350365"/>
              <a:gd name="connsiteX9" fmla="*/ 41077 w 1911719"/>
              <a:gd name="connsiteY9" fmla="*/ 371602 h 1350365"/>
              <a:gd name="connsiteX10" fmla="*/ 157724 w 1911719"/>
              <a:gd name="connsiteY10" fmla="*/ 323071 h 1350365"/>
              <a:gd name="connsiteX11" fmla="*/ 1763138 w 1911719"/>
              <a:gd name="connsiteY11" fmla="*/ 10773 h 1350365"/>
              <a:gd name="connsiteX12" fmla="*/ 1877048 w 1911719"/>
              <a:gd name="connsiteY12" fmla="*/ 12986 h 1350365"/>
              <a:gd name="connsiteX0" fmla="*/ 1873126 w 1907797"/>
              <a:gd name="connsiteY0" fmla="*/ 12986 h 1359744"/>
              <a:gd name="connsiteX1" fmla="*/ 1907511 w 1907797"/>
              <a:gd name="connsiteY1" fmla="*/ 135905 h 1359744"/>
              <a:gd name="connsiteX2" fmla="*/ 1907511 w 1907797"/>
              <a:gd name="connsiteY2" fmla="*/ 854747 h 1359744"/>
              <a:gd name="connsiteX3" fmla="*/ 1885281 w 1907797"/>
              <a:gd name="connsiteY3" fmla="*/ 975991 h 1359744"/>
              <a:gd name="connsiteX4" fmla="*/ 1759216 w 1907797"/>
              <a:gd name="connsiteY4" fmla="*/ 1037386 h 1359744"/>
              <a:gd name="connsiteX5" fmla="*/ 153802 w 1907797"/>
              <a:gd name="connsiteY5" fmla="*/ 1349418 h 1359744"/>
              <a:gd name="connsiteX6" fmla="*/ 39690 w 1907797"/>
              <a:gd name="connsiteY6" fmla="*/ 1347594 h 1359744"/>
              <a:gd name="connsiteX7" fmla="*/ 5507 w 1907797"/>
              <a:gd name="connsiteY7" fmla="*/ 1224552 h 1359744"/>
              <a:gd name="connsiteX8" fmla="*/ 5507 w 1907797"/>
              <a:gd name="connsiteY8" fmla="*/ 505710 h 1359744"/>
              <a:gd name="connsiteX9" fmla="*/ 37155 w 1907797"/>
              <a:gd name="connsiteY9" fmla="*/ 371602 h 1359744"/>
              <a:gd name="connsiteX10" fmla="*/ 153802 w 1907797"/>
              <a:gd name="connsiteY10" fmla="*/ 323071 h 1359744"/>
              <a:gd name="connsiteX11" fmla="*/ 1759216 w 1907797"/>
              <a:gd name="connsiteY11" fmla="*/ 10773 h 1359744"/>
              <a:gd name="connsiteX12" fmla="*/ 1873126 w 1907797"/>
              <a:gd name="connsiteY12" fmla="*/ 12986 h 1359744"/>
              <a:gd name="connsiteX0" fmla="*/ 1871434 w 1906105"/>
              <a:gd name="connsiteY0" fmla="*/ 12986 h 1359744"/>
              <a:gd name="connsiteX1" fmla="*/ 1905819 w 1906105"/>
              <a:gd name="connsiteY1" fmla="*/ 135905 h 1359744"/>
              <a:gd name="connsiteX2" fmla="*/ 1905819 w 1906105"/>
              <a:gd name="connsiteY2" fmla="*/ 854747 h 1359744"/>
              <a:gd name="connsiteX3" fmla="*/ 1883589 w 1906105"/>
              <a:gd name="connsiteY3" fmla="*/ 975991 h 1359744"/>
              <a:gd name="connsiteX4" fmla="*/ 1757524 w 1906105"/>
              <a:gd name="connsiteY4" fmla="*/ 1037386 h 1359744"/>
              <a:gd name="connsiteX5" fmla="*/ 152110 w 1906105"/>
              <a:gd name="connsiteY5" fmla="*/ 1349418 h 1359744"/>
              <a:gd name="connsiteX6" fmla="*/ 37998 w 1906105"/>
              <a:gd name="connsiteY6" fmla="*/ 1347594 h 1359744"/>
              <a:gd name="connsiteX7" fmla="*/ 3815 w 1906105"/>
              <a:gd name="connsiteY7" fmla="*/ 1224552 h 1359744"/>
              <a:gd name="connsiteX8" fmla="*/ 3815 w 1906105"/>
              <a:gd name="connsiteY8" fmla="*/ 505710 h 1359744"/>
              <a:gd name="connsiteX9" fmla="*/ 35463 w 1906105"/>
              <a:gd name="connsiteY9" fmla="*/ 371602 h 1359744"/>
              <a:gd name="connsiteX10" fmla="*/ 152110 w 1906105"/>
              <a:gd name="connsiteY10" fmla="*/ 323071 h 1359744"/>
              <a:gd name="connsiteX11" fmla="*/ 1757524 w 1906105"/>
              <a:gd name="connsiteY11" fmla="*/ 10773 h 1359744"/>
              <a:gd name="connsiteX12" fmla="*/ 1871434 w 1906105"/>
              <a:gd name="connsiteY12" fmla="*/ 12986 h 1359744"/>
              <a:gd name="connsiteX0" fmla="*/ 1867619 w 1902290"/>
              <a:gd name="connsiteY0" fmla="*/ 12986 h 1362553"/>
              <a:gd name="connsiteX1" fmla="*/ 1902004 w 1902290"/>
              <a:gd name="connsiteY1" fmla="*/ 135905 h 1362553"/>
              <a:gd name="connsiteX2" fmla="*/ 1902004 w 1902290"/>
              <a:gd name="connsiteY2" fmla="*/ 854747 h 1362553"/>
              <a:gd name="connsiteX3" fmla="*/ 1879774 w 1902290"/>
              <a:gd name="connsiteY3" fmla="*/ 975991 h 1362553"/>
              <a:gd name="connsiteX4" fmla="*/ 1753709 w 1902290"/>
              <a:gd name="connsiteY4" fmla="*/ 1037386 h 1362553"/>
              <a:gd name="connsiteX5" fmla="*/ 148295 w 1902290"/>
              <a:gd name="connsiteY5" fmla="*/ 1349418 h 1362553"/>
              <a:gd name="connsiteX6" fmla="*/ 34183 w 1902290"/>
              <a:gd name="connsiteY6" fmla="*/ 1347594 h 1362553"/>
              <a:gd name="connsiteX7" fmla="*/ 0 w 1902290"/>
              <a:gd name="connsiteY7" fmla="*/ 1224552 h 1362553"/>
              <a:gd name="connsiteX8" fmla="*/ 0 w 1902290"/>
              <a:gd name="connsiteY8" fmla="*/ 505710 h 1362553"/>
              <a:gd name="connsiteX9" fmla="*/ 31648 w 1902290"/>
              <a:gd name="connsiteY9" fmla="*/ 371602 h 1362553"/>
              <a:gd name="connsiteX10" fmla="*/ 148295 w 1902290"/>
              <a:gd name="connsiteY10" fmla="*/ 323071 h 1362553"/>
              <a:gd name="connsiteX11" fmla="*/ 1753709 w 1902290"/>
              <a:gd name="connsiteY11" fmla="*/ 10773 h 1362553"/>
              <a:gd name="connsiteX12" fmla="*/ 1867619 w 1902290"/>
              <a:gd name="connsiteY12" fmla="*/ 12986 h 1362553"/>
              <a:gd name="connsiteX0" fmla="*/ 1867619 w 1902290"/>
              <a:gd name="connsiteY0" fmla="*/ 12986 h 1362704"/>
              <a:gd name="connsiteX1" fmla="*/ 1902004 w 1902290"/>
              <a:gd name="connsiteY1" fmla="*/ 135905 h 1362704"/>
              <a:gd name="connsiteX2" fmla="*/ 1902004 w 1902290"/>
              <a:gd name="connsiteY2" fmla="*/ 854747 h 1362704"/>
              <a:gd name="connsiteX3" fmla="*/ 1879774 w 1902290"/>
              <a:gd name="connsiteY3" fmla="*/ 975991 h 1362704"/>
              <a:gd name="connsiteX4" fmla="*/ 1753709 w 1902290"/>
              <a:gd name="connsiteY4" fmla="*/ 1037386 h 1362704"/>
              <a:gd name="connsiteX5" fmla="*/ 148295 w 1902290"/>
              <a:gd name="connsiteY5" fmla="*/ 1349418 h 1362704"/>
              <a:gd name="connsiteX6" fmla="*/ 34183 w 1902290"/>
              <a:gd name="connsiteY6" fmla="*/ 1347594 h 1362704"/>
              <a:gd name="connsiteX7" fmla="*/ 0 w 1902290"/>
              <a:gd name="connsiteY7" fmla="*/ 1224552 h 1362704"/>
              <a:gd name="connsiteX8" fmla="*/ 0 w 1902290"/>
              <a:gd name="connsiteY8" fmla="*/ 505710 h 1362704"/>
              <a:gd name="connsiteX9" fmla="*/ 31648 w 1902290"/>
              <a:gd name="connsiteY9" fmla="*/ 371602 h 1362704"/>
              <a:gd name="connsiteX10" fmla="*/ 148295 w 1902290"/>
              <a:gd name="connsiteY10" fmla="*/ 323071 h 1362704"/>
              <a:gd name="connsiteX11" fmla="*/ 1753709 w 1902290"/>
              <a:gd name="connsiteY11" fmla="*/ 10773 h 1362704"/>
              <a:gd name="connsiteX12" fmla="*/ 1867619 w 1902290"/>
              <a:gd name="connsiteY12" fmla="*/ 12986 h 1362704"/>
              <a:gd name="connsiteX0" fmla="*/ 1867619 w 1902290"/>
              <a:gd name="connsiteY0" fmla="*/ 12986 h 1360287"/>
              <a:gd name="connsiteX1" fmla="*/ 1902004 w 1902290"/>
              <a:gd name="connsiteY1" fmla="*/ 135905 h 1360287"/>
              <a:gd name="connsiteX2" fmla="*/ 1902004 w 1902290"/>
              <a:gd name="connsiteY2" fmla="*/ 854747 h 1360287"/>
              <a:gd name="connsiteX3" fmla="*/ 1879774 w 1902290"/>
              <a:gd name="connsiteY3" fmla="*/ 975991 h 1360287"/>
              <a:gd name="connsiteX4" fmla="*/ 1753709 w 1902290"/>
              <a:gd name="connsiteY4" fmla="*/ 1037386 h 1360287"/>
              <a:gd name="connsiteX5" fmla="*/ 148295 w 1902290"/>
              <a:gd name="connsiteY5" fmla="*/ 1349418 h 1360287"/>
              <a:gd name="connsiteX6" fmla="*/ 34183 w 1902290"/>
              <a:gd name="connsiteY6" fmla="*/ 1347594 h 1360287"/>
              <a:gd name="connsiteX7" fmla="*/ 0 w 1902290"/>
              <a:gd name="connsiteY7" fmla="*/ 1224552 h 1360287"/>
              <a:gd name="connsiteX8" fmla="*/ 0 w 1902290"/>
              <a:gd name="connsiteY8" fmla="*/ 505710 h 1360287"/>
              <a:gd name="connsiteX9" fmla="*/ 31648 w 1902290"/>
              <a:gd name="connsiteY9" fmla="*/ 371602 h 1360287"/>
              <a:gd name="connsiteX10" fmla="*/ 148295 w 1902290"/>
              <a:gd name="connsiteY10" fmla="*/ 323071 h 1360287"/>
              <a:gd name="connsiteX11" fmla="*/ 1753709 w 1902290"/>
              <a:gd name="connsiteY11" fmla="*/ 10773 h 1360287"/>
              <a:gd name="connsiteX12" fmla="*/ 1867619 w 1902290"/>
              <a:gd name="connsiteY12" fmla="*/ 12986 h 1360287"/>
              <a:gd name="connsiteX0" fmla="*/ 1867619 w 1902290"/>
              <a:gd name="connsiteY0" fmla="*/ 12986 h 1358026"/>
              <a:gd name="connsiteX1" fmla="*/ 1902004 w 1902290"/>
              <a:gd name="connsiteY1" fmla="*/ 135905 h 1358026"/>
              <a:gd name="connsiteX2" fmla="*/ 1902004 w 1902290"/>
              <a:gd name="connsiteY2" fmla="*/ 854747 h 1358026"/>
              <a:gd name="connsiteX3" fmla="*/ 1879774 w 1902290"/>
              <a:gd name="connsiteY3" fmla="*/ 975991 h 1358026"/>
              <a:gd name="connsiteX4" fmla="*/ 1753709 w 1902290"/>
              <a:gd name="connsiteY4" fmla="*/ 1037386 h 1358026"/>
              <a:gd name="connsiteX5" fmla="*/ 149096 w 1902290"/>
              <a:gd name="connsiteY5" fmla="*/ 1349418 h 1358026"/>
              <a:gd name="connsiteX6" fmla="*/ 34183 w 1902290"/>
              <a:gd name="connsiteY6" fmla="*/ 1347594 h 1358026"/>
              <a:gd name="connsiteX7" fmla="*/ 0 w 1902290"/>
              <a:gd name="connsiteY7" fmla="*/ 1224552 h 1358026"/>
              <a:gd name="connsiteX8" fmla="*/ 0 w 1902290"/>
              <a:gd name="connsiteY8" fmla="*/ 505710 h 1358026"/>
              <a:gd name="connsiteX9" fmla="*/ 31648 w 1902290"/>
              <a:gd name="connsiteY9" fmla="*/ 371602 h 1358026"/>
              <a:gd name="connsiteX10" fmla="*/ 148295 w 1902290"/>
              <a:gd name="connsiteY10" fmla="*/ 323071 h 1358026"/>
              <a:gd name="connsiteX11" fmla="*/ 1753709 w 1902290"/>
              <a:gd name="connsiteY11" fmla="*/ 10773 h 1358026"/>
              <a:gd name="connsiteX12" fmla="*/ 1867619 w 1902290"/>
              <a:gd name="connsiteY12" fmla="*/ 12986 h 1358026"/>
              <a:gd name="connsiteX0" fmla="*/ 1867619 w 1902290"/>
              <a:gd name="connsiteY0" fmla="*/ 12986 h 1359434"/>
              <a:gd name="connsiteX1" fmla="*/ 1902004 w 1902290"/>
              <a:gd name="connsiteY1" fmla="*/ 135905 h 1359434"/>
              <a:gd name="connsiteX2" fmla="*/ 1902004 w 1902290"/>
              <a:gd name="connsiteY2" fmla="*/ 854747 h 1359434"/>
              <a:gd name="connsiteX3" fmla="*/ 1879774 w 1902290"/>
              <a:gd name="connsiteY3" fmla="*/ 975991 h 1359434"/>
              <a:gd name="connsiteX4" fmla="*/ 1753709 w 1902290"/>
              <a:gd name="connsiteY4" fmla="*/ 1037386 h 1359434"/>
              <a:gd name="connsiteX5" fmla="*/ 149096 w 1902290"/>
              <a:gd name="connsiteY5" fmla="*/ 1349418 h 1359434"/>
              <a:gd name="connsiteX6" fmla="*/ 34183 w 1902290"/>
              <a:gd name="connsiteY6" fmla="*/ 1347594 h 1359434"/>
              <a:gd name="connsiteX7" fmla="*/ 0 w 1902290"/>
              <a:gd name="connsiteY7" fmla="*/ 1224552 h 1359434"/>
              <a:gd name="connsiteX8" fmla="*/ 0 w 1902290"/>
              <a:gd name="connsiteY8" fmla="*/ 505710 h 1359434"/>
              <a:gd name="connsiteX9" fmla="*/ 31648 w 1902290"/>
              <a:gd name="connsiteY9" fmla="*/ 371602 h 1359434"/>
              <a:gd name="connsiteX10" fmla="*/ 148295 w 1902290"/>
              <a:gd name="connsiteY10" fmla="*/ 323071 h 1359434"/>
              <a:gd name="connsiteX11" fmla="*/ 1753709 w 1902290"/>
              <a:gd name="connsiteY11" fmla="*/ 10773 h 1359434"/>
              <a:gd name="connsiteX12" fmla="*/ 1867619 w 1902290"/>
              <a:gd name="connsiteY12" fmla="*/ 12986 h 1359434"/>
              <a:gd name="connsiteX0" fmla="*/ 1867619 w 1902290"/>
              <a:gd name="connsiteY0" fmla="*/ 12986 h 1358913"/>
              <a:gd name="connsiteX1" fmla="*/ 1902004 w 1902290"/>
              <a:gd name="connsiteY1" fmla="*/ 135905 h 1358913"/>
              <a:gd name="connsiteX2" fmla="*/ 1902004 w 1902290"/>
              <a:gd name="connsiteY2" fmla="*/ 854747 h 1358913"/>
              <a:gd name="connsiteX3" fmla="*/ 1879774 w 1902290"/>
              <a:gd name="connsiteY3" fmla="*/ 975991 h 1358913"/>
              <a:gd name="connsiteX4" fmla="*/ 1753709 w 1902290"/>
              <a:gd name="connsiteY4" fmla="*/ 1037386 h 1358913"/>
              <a:gd name="connsiteX5" fmla="*/ 149096 w 1902290"/>
              <a:gd name="connsiteY5" fmla="*/ 1349418 h 1358913"/>
              <a:gd name="connsiteX6" fmla="*/ 34183 w 1902290"/>
              <a:gd name="connsiteY6" fmla="*/ 1347594 h 1358913"/>
              <a:gd name="connsiteX7" fmla="*/ 0 w 1902290"/>
              <a:gd name="connsiteY7" fmla="*/ 1224552 h 1358913"/>
              <a:gd name="connsiteX8" fmla="*/ 0 w 1902290"/>
              <a:gd name="connsiteY8" fmla="*/ 505710 h 1358913"/>
              <a:gd name="connsiteX9" fmla="*/ 31648 w 1902290"/>
              <a:gd name="connsiteY9" fmla="*/ 371602 h 1358913"/>
              <a:gd name="connsiteX10" fmla="*/ 148295 w 1902290"/>
              <a:gd name="connsiteY10" fmla="*/ 323071 h 1358913"/>
              <a:gd name="connsiteX11" fmla="*/ 1753709 w 1902290"/>
              <a:gd name="connsiteY11" fmla="*/ 10773 h 1358913"/>
              <a:gd name="connsiteX12" fmla="*/ 1867619 w 1902290"/>
              <a:gd name="connsiteY12" fmla="*/ 12986 h 1358913"/>
              <a:gd name="connsiteX0" fmla="*/ 1867619 w 1902290"/>
              <a:gd name="connsiteY0" fmla="*/ 12986 h 1360761"/>
              <a:gd name="connsiteX1" fmla="*/ 1902004 w 1902290"/>
              <a:gd name="connsiteY1" fmla="*/ 135905 h 1360761"/>
              <a:gd name="connsiteX2" fmla="*/ 1902004 w 1902290"/>
              <a:gd name="connsiteY2" fmla="*/ 854747 h 1360761"/>
              <a:gd name="connsiteX3" fmla="*/ 1879774 w 1902290"/>
              <a:gd name="connsiteY3" fmla="*/ 975991 h 1360761"/>
              <a:gd name="connsiteX4" fmla="*/ 1753709 w 1902290"/>
              <a:gd name="connsiteY4" fmla="*/ 1037386 h 1360761"/>
              <a:gd name="connsiteX5" fmla="*/ 149096 w 1902290"/>
              <a:gd name="connsiteY5" fmla="*/ 1349418 h 1360761"/>
              <a:gd name="connsiteX6" fmla="*/ 34183 w 1902290"/>
              <a:gd name="connsiteY6" fmla="*/ 1347594 h 1360761"/>
              <a:gd name="connsiteX7" fmla="*/ 0 w 1902290"/>
              <a:gd name="connsiteY7" fmla="*/ 1224552 h 1360761"/>
              <a:gd name="connsiteX8" fmla="*/ 0 w 1902290"/>
              <a:gd name="connsiteY8" fmla="*/ 505710 h 1360761"/>
              <a:gd name="connsiteX9" fmla="*/ 31648 w 1902290"/>
              <a:gd name="connsiteY9" fmla="*/ 371602 h 1360761"/>
              <a:gd name="connsiteX10" fmla="*/ 148295 w 1902290"/>
              <a:gd name="connsiteY10" fmla="*/ 323071 h 1360761"/>
              <a:gd name="connsiteX11" fmla="*/ 1753709 w 1902290"/>
              <a:gd name="connsiteY11" fmla="*/ 10773 h 1360761"/>
              <a:gd name="connsiteX12" fmla="*/ 1867619 w 1902290"/>
              <a:gd name="connsiteY12" fmla="*/ 12986 h 1360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2290" h="1360761">
                <a:moveTo>
                  <a:pt x="1867619" y="12986"/>
                </a:moveTo>
                <a:cubicBezTo>
                  <a:pt x="1905082" y="38138"/>
                  <a:pt x="1902668" y="77924"/>
                  <a:pt x="1902004" y="135905"/>
                </a:cubicBezTo>
                <a:lnTo>
                  <a:pt x="1902004" y="854747"/>
                </a:lnTo>
                <a:cubicBezTo>
                  <a:pt x="1902627" y="907312"/>
                  <a:pt x="1901317" y="946976"/>
                  <a:pt x="1879774" y="975991"/>
                </a:cubicBezTo>
                <a:cubicBezTo>
                  <a:pt x="1849087" y="1017321"/>
                  <a:pt x="1823646" y="1024002"/>
                  <a:pt x="1753709" y="1037386"/>
                </a:cubicBezTo>
                <a:lnTo>
                  <a:pt x="149096" y="1349418"/>
                </a:lnTo>
                <a:cubicBezTo>
                  <a:pt x="112072" y="1358514"/>
                  <a:pt x="61662" y="1370426"/>
                  <a:pt x="34183" y="1347594"/>
                </a:cubicBezTo>
                <a:cubicBezTo>
                  <a:pt x="2177" y="1321001"/>
                  <a:pt x="37" y="1293594"/>
                  <a:pt x="0" y="1224552"/>
                </a:cubicBezTo>
                <a:lnTo>
                  <a:pt x="0" y="505710"/>
                </a:lnTo>
                <a:cubicBezTo>
                  <a:pt x="405" y="458533"/>
                  <a:pt x="-1141" y="411457"/>
                  <a:pt x="31648" y="371602"/>
                </a:cubicBezTo>
                <a:cubicBezTo>
                  <a:pt x="64437" y="331747"/>
                  <a:pt x="96933" y="331260"/>
                  <a:pt x="148295" y="323071"/>
                </a:cubicBezTo>
                <a:lnTo>
                  <a:pt x="1753709" y="10773"/>
                </a:lnTo>
                <a:cubicBezTo>
                  <a:pt x="1812984" y="-504"/>
                  <a:pt x="1837468" y="-7257"/>
                  <a:pt x="1867619" y="12986"/>
                </a:cubicBezTo>
                <a:close/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bg2"/>
              </a:gs>
            </a:gsLst>
            <a:lin ang="0" scaled="0"/>
          </a:gradFill>
        </p:spPr>
        <p:txBody>
          <a:bodyPr wrap="square" lIns="216000" tIns="576000" rIns="144000" bIns="360000" anchor="t" anchorCtr="0">
            <a:normAutofit/>
          </a:bodyPr>
          <a:lstStyle>
            <a:lvl1pPr algn="l">
              <a:lnSpc>
                <a:spcPct val="90000"/>
              </a:lnSpc>
              <a:defRPr sz="14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Edit the titl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F8C2B7F-F2FC-47A0-9BB8-7750509552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4253EC9-D4C3-40CA-B15D-1F267382B6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3768199079"/>
      </p:ext>
    </p:extLst>
  </p:cSld>
  <p:clrMapOvr>
    <a:masterClrMapping/>
  </p:clrMapOvr>
  <p:transition spd="slow">
    <p:wip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mage + grande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4F1009D9-D378-4A9C-B28B-0E4F78E83C4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9144000" cy="3810000"/>
          </a:xfrm>
          <a:custGeom>
            <a:avLst/>
            <a:gdLst>
              <a:gd name="connsiteX0" fmla="*/ 0 w 9144000"/>
              <a:gd name="connsiteY0" fmla="*/ 0 h 3810000"/>
              <a:gd name="connsiteX1" fmla="*/ 9144000 w 9144000"/>
              <a:gd name="connsiteY1" fmla="*/ 0 h 3810000"/>
              <a:gd name="connsiteX2" fmla="*/ 9144000 w 9144000"/>
              <a:gd name="connsiteY2" fmla="*/ 3810000 h 3810000"/>
              <a:gd name="connsiteX3" fmla="*/ 7779941 w 9144000"/>
              <a:gd name="connsiteY3" fmla="*/ 3810000 h 3810000"/>
              <a:gd name="connsiteX4" fmla="*/ 8688866 w 9144000"/>
              <a:gd name="connsiteY4" fmla="*/ 3633324 h 3810000"/>
              <a:gd name="connsiteX5" fmla="*/ 8792009 w 9144000"/>
              <a:gd name="connsiteY5" fmla="*/ 3506275 h 3810000"/>
              <a:gd name="connsiteX6" fmla="*/ 8792009 w 9144000"/>
              <a:gd name="connsiteY6" fmla="*/ 1014445 h 3810000"/>
              <a:gd name="connsiteX7" fmla="*/ 8688866 w 9144000"/>
              <a:gd name="connsiteY7" fmla="*/ 927433 h 3810000"/>
              <a:gd name="connsiteX8" fmla="*/ 3638840 w 9144000"/>
              <a:gd name="connsiteY8" fmla="*/ 1908802 h 3810000"/>
              <a:gd name="connsiteX9" fmla="*/ 3535696 w 9144000"/>
              <a:gd name="connsiteY9" fmla="*/ 2035935 h 3810000"/>
              <a:gd name="connsiteX10" fmla="*/ 3535696 w 9144000"/>
              <a:gd name="connsiteY10" fmla="*/ 3810000 h 3810000"/>
              <a:gd name="connsiteX11" fmla="*/ 0 w 9144000"/>
              <a:gd name="connsiteY11" fmla="*/ 381000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4000" h="3810000">
                <a:moveTo>
                  <a:pt x="0" y="0"/>
                </a:moveTo>
                <a:lnTo>
                  <a:pt x="9144000" y="0"/>
                </a:lnTo>
                <a:lnTo>
                  <a:pt x="9144000" y="3810000"/>
                </a:lnTo>
                <a:lnTo>
                  <a:pt x="7779941" y="3810000"/>
                </a:lnTo>
                <a:lnTo>
                  <a:pt x="8688866" y="3633324"/>
                </a:lnTo>
                <a:cubicBezTo>
                  <a:pt x="8745871" y="3622290"/>
                  <a:pt x="8792009" y="3565369"/>
                  <a:pt x="8792009" y="3506275"/>
                </a:cubicBezTo>
                <a:lnTo>
                  <a:pt x="8792009" y="1014445"/>
                </a:lnTo>
                <a:cubicBezTo>
                  <a:pt x="8792009" y="955351"/>
                  <a:pt x="8745871" y="916400"/>
                  <a:pt x="8688866" y="927433"/>
                </a:cubicBezTo>
                <a:lnTo>
                  <a:pt x="3638840" y="1908802"/>
                </a:lnTo>
                <a:cubicBezTo>
                  <a:pt x="3581918" y="1919919"/>
                  <a:pt x="3535696" y="1976757"/>
                  <a:pt x="3535696" y="2035935"/>
                </a:cubicBezTo>
                <a:lnTo>
                  <a:pt x="3535696" y="3810000"/>
                </a:lnTo>
                <a:lnTo>
                  <a:pt x="0" y="3810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22572C44-6B98-4C76-BF19-B58310C03EA1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ABD3710F-0552-4936-BD67-EFA1F55EF606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47" name="Connecteur droit 46">
              <a:extLst>
                <a:ext uri="{FF2B5EF4-FFF2-40B4-BE49-F238E27FC236}">
                  <a16:creationId xmlns:a16="http://schemas.microsoft.com/office/drawing/2014/main" id="{35EF02FC-47B6-4B91-99D5-62181834A079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id="{4CD56F71-2D4F-4E7D-BCDE-080C81A03AE7}"/>
                </a:ext>
              </a:extLst>
            </p:cNvPr>
            <p:cNvCxnSpPr/>
            <p:nvPr userDrawn="1"/>
          </p:nvCxnSpPr>
          <p:spPr>
            <a:xfrm flipH="1">
              <a:off x="-252536" y="2606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Image 48">
            <a:extLst>
              <a:ext uri="{FF2B5EF4-FFF2-40B4-BE49-F238E27FC236}">
                <a16:creationId xmlns:a16="http://schemas.microsoft.com/office/drawing/2014/main" id="{60333338-DE4E-40ED-9DB6-2DFB675D2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F8C2B7F-F2FC-47A0-9BB8-7750509552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4253EC9-D4C3-40CA-B15D-1F267382B6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B384779C-7C44-49EE-9A08-67E0E77A79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35697" y="925564"/>
            <a:ext cx="5256313" cy="3691273"/>
          </a:xfrm>
          <a:custGeom>
            <a:avLst/>
            <a:gdLst>
              <a:gd name="connsiteX0" fmla="*/ 5153170 w 5256313"/>
              <a:gd name="connsiteY0" fmla="*/ 1869 h 3691273"/>
              <a:gd name="connsiteX1" fmla="*/ 5256313 w 5256313"/>
              <a:gd name="connsiteY1" fmla="*/ 88881 h 3691273"/>
              <a:gd name="connsiteX2" fmla="*/ 5256313 w 5256313"/>
              <a:gd name="connsiteY2" fmla="*/ 2580711 h 3691273"/>
              <a:gd name="connsiteX3" fmla="*/ 5153170 w 5256313"/>
              <a:gd name="connsiteY3" fmla="*/ 2707760 h 3691273"/>
              <a:gd name="connsiteX4" fmla="*/ 103144 w 5256313"/>
              <a:gd name="connsiteY4" fmla="*/ 3689379 h 3691273"/>
              <a:gd name="connsiteX5" fmla="*/ 0 w 5256313"/>
              <a:gd name="connsiteY5" fmla="*/ 3602367 h 3691273"/>
              <a:gd name="connsiteX6" fmla="*/ 0 w 5256313"/>
              <a:gd name="connsiteY6" fmla="*/ 1110371 h 3691273"/>
              <a:gd name="connsiteX7" fmla="*/ 103144 w 5256313"/>
              <a:gd name="connsiteY7" fmla="*/ 983238 h 3691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56313" h="3691273">
                <a:moveTo>
                  <a:pt x="5153170" y="1869"/>
                </a:moveTo>
                <a:cubicBezTo>
                  <a:pt x="5210175" y="-9164"/>
                  <a:pt x="5256313" y="29787"/>
                  <a:pt x="5256313" y="88881"/>
                </a:cubicBezTo>
                <a:lnTo>
                  <a:pt x="5256313" y="2580711"/>
                </a:lnTo>
                <a:cubicBezTo>
                  <a:pt x="5256313" y="2639805"/>
                  <a:pt x="5210175" y="2696726"/>
                  <a:pt x="5153170" y="2707760"/>
                </a:cubicBezTo>
                <a:lnTo>
                  <a:pt x="103144" y="3689379"/>
                </a:lnTo>
                <a:cubicBezTo>
                  <a:pt x="46222" y="3700496"/>
                  <a:pt x="0" y="3661545"/>
                  <a:pt x="0" y="3602367"/>
                </a:cubicBezTo>
                <a:lnTo>
                  <a:pt x="0" y="1110371"/>
                </a:lnTo>
                <a:cubicBezTo>
                  <a:pt x="0" y="1051193"/>
                  <a:pt x="46222" y="994355"/>
                  <a:pt x="103144" y="983238"/>
                </a:cubicBezTo>
                <a:close/>
              </a:path>
            </a:pathLst>
          </a:custGeom>
          <a:gradFill>
            <a:gsLst>
              <a:gs pos="0">
                <a:schemeClr val="tx1"/>
              </a:gs>
              <a:gs pos="50000">
                <a:schemeClr val="accent4"/>
              </a:gs>
              <a:gs pos="100000">
                <a:schemeClr val="accent5"/>
              </a:gs>
            </a:gsLst>
            <a:lin ang="0" scaled="0"/>
          </a:gradFill>
        </p:spPr>
        <p:txBody>
          <a:bodyPr wrap="square" lIns="216000" tIns="1116000" anchor="t">
            <a:noAutofit/>
          </a:bodyPr>
          <a:lstStyle>
            <a:lvl1pPr marL="0" indent="0">
              <a:buNone/>
              <a:defRPr sz="1700" b="1">
                <a:solidFill>
                  <a:schemeClr val="bg1"/>
                </a:solidFill>
              </a:defRPr>
            </a:lvl1pPr>
            <a:lvl2pPr marL="0" indent="0"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89503698"/>
      </p:ext>
    </p:extLst>
  </p:cSld>
  <p:clrMapOvr>
    <a:masterClrMapping/>
  </p:clrMapOvr>
  <p:transition spd="slow">
    <p:wip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nde image +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22715650-C839-4072-AE1A-179B974178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9144000" cy="2571749"/>
          </a:xfrm>
          <a:custGeom>
            <a:avLst/>
            <a:gdLst>
              <a:gd name="connsiteX0" fmla="*/ 2820339 w 9144000"/>
              <a:gd name="connsiteY0" fmla="*/ 347744 h 2571749"/>
              <a:gd name="connsiteX1" fmla="*/ 2728379 w 9144000"/>
              <a:gd name="connsiteY1" fmla="*/ 362258 h 2571749"/>
              <a:gd name="connsiteX2" fmla="*/ 562862 w 9144000"/>
              <a:gd name="connsiteY2" fmla="*/ 780602 h 2571749"/>
              <a:gd name="connsiteX3" fmla="*/ 395301 w 9144000"/>
              <a:gd name="connsiteY3" fmla="*/ 851116 h 2571749"/>
              <a:gd name="connsiteX4" fmla="*/ 352424 w 9144000"/>
              <a:gd name="connsiteY4" fmla="*/ 1032808 h 2571749"/>
              <a:gd name="connsiteX5" fmla="*/ 352424 w 9144000"/>
              <a:gd name="connsiteY5" fmla="*/ 2006707 h 2571749"/>
              <a:gd name="connsiteX6" fmla="*/ 398736 w 9144000"/>
              <a:gd name="connsiteY6" fmla="*/ 2173406 h 2571749"/>
              <a:gd name="connsiteX7" fmla="*/ 554422 w 9144000"/>
              <a:gd name="connsiteY7" fmla="*/ 2175877 h 2571749"/>
              <a:gd name="connsiteX8" fmla="*/ 2728379 w 9144000"/>
              <a:gd name="connsiteY8" fmla="*/ 1753131 h 2571749"/>
              <a:gd name="connsiteX9" fmla="*/ 2899174 w 9144000"/>
              <a:gd name="connsiteY9" fmla="*/ 1669952 h 2571749"/>
              <a:gd name="connsiteX10" fmla="*/ 2929292 w 9144000"/>
              <a:gd name="connsiteY10" fmla="*/ 1505689 h 2571749"/>
              <a:gd name="connsiteX11" fmla="*/ 2929292 w 9144000"/>
              <a:gd name="connsiteY11" fmla="*/ 531789 h 2571749"/>
              <a:gd name="connsiteX12" fmla="*/ 2882707 w 9144000"/>
              <a:gd name="connsiteY12" fmla="*/ 365257 h 2571749"/>
              <a:gd name="connsiteX13" fmla="*/ 2820339 w 9144000"/>
              <a:gd name="connsiteY13" fmla="*/ 347744 h 2571749"/>
              <a:gd name="connsiteX14" fmla="*/ 0 w 9144000"/>
              <a:gd name="connsiteY14" fmla="*/ 0 h 2571749"/>
              <a:gd name="connsiteX15" fmla="*/ 9144000 w 9144000"/>
              <a:gd name="connsiteY15" fmla="*/ 0 h 2571749"/>
              <a:gd name="connsiteX16" fmla="*/ 9144000 w 9144000"/>
              <a:gd name="connsiteY16" fmla="*/ 2571749 h 2571749"/>
              <a:gd name="connsiteX17" fmla="*/ 0 w 9144000"/>
              <a:gd name="connsiteY17" fmla="*/ 2571749 h 257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144000" h="2571749">
                <a:moveTo>
                  <a:pt x="2820339" y="347744"/>
                </a:moveTo>
                <a:cubicBezTo>
                  <a:pt x="2796902" y="348513"/>
                  <a:pt x="2768533" y="354619"/>
                  <a:pt x="2728379" y="362258"/>
                </a:cubicBezTo>
                <a:lnTo>
                  <a:pt x="562862" y="780602"/>
                </a:lnTo>
                <a:cubicBezTo>
                  <a:pt x="493276" y="794077"/>
                  <a:pt x="430375" y="809081"/>
                  <a:pt x="395301" y="851116"/>
                </a:cubicBezTo>
                <a:cubicBezTo>
                  <a:pt x="360228" y="893150"/>
                  <a:pt x="352973" y="968891"/>
                  <a:pt x="352424" y="1032808"/>
                </a:cubicBezTo>
                <a:lnTo>
                  <a:pt x="352424" y="2006707"/>
                </a:lnTo>
                <a:cubicBezTo>
                  <a:pt x="352474" y="2100246"/>
                  <a:pt x="355374" y="2137378"/>
                  <a:pt x="398736" y="2173406"/>
                </a:cubicBezTo>
                <a:cubicBezTo>
                  <a:pt x="435965" y="2204339"/>
                  <a:pt x="504261" y="2188201"/>
                  <a:pt x="554422" y="2175877"/>
                </a:cubicBezTo>
                <a:lnTo>
                  <a:pt x="2728379" y="1753131"/>
                </a:lnTo>
                <a:cubicBezTo>
                  <a:pt x="2823131" y="1734998"/>
                  <a:pt x="2857599" y="1725947"/>
                  <a:pt x="2899174" y="1669952"/>
                </a:cubicBezTo>
                <a:cubicBezTo>
                  <a:pt x="2928361" y="1630642"/>
                  <a:pt x="2930136" y="1576905"/>
                  <a:pt x="2929292" y="1505689"/>
                </a:cubicBezTo>
                <a:lnTo>
                  <a:pt x="2929292" y="531789"/>
                </a:lnTo>
                <a:cubicBezTo>
                  <a:pt x="2930191" y="453236"/>
                  <a:pt x="2933462" y="399333"/>
                  <a:pt x="2882707" y="365257"/>
                </a:cubicBezTo>
                <a:cubicBezTo>
                  <a:pt x="2862282" y="351544"/>
                  <a:pt x="2843777" y="346975"/>
                  <a:pt x="2820339" y="34774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2571749"/>
                </a:lnTo>
                <a:lnTo>
                  <a:pt x="0" y="257174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12000"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22572C44-6B98-4C76-BF19-B58310C03EA1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ABD3710F-0552-4936-BD67-EFA1F55EF606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47" name="Connecteur droit 46">
              <a:extLst>
                <a:ext uri="{FF2B5EF4-FFF2-40B4-BE49-F238E27FC236}">
                  <a16:creationId xmlns:a16="http://schemas.microsoft.com/office/drawing/2014/main" id="{35EF02FC-47B6-4B91-99D5-62181834A079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id="{4CD56F71-2D4F-4E7D-BCDE-080C81A03AE7}"/>
                </a:ext>
              </a:extLst>
            </p:cNvPr>
            <p:cNvCxnSpPr/>
            <p:nvPr userDrawn="1"/>
          </p:nvCxnSpPr>
          <p:spPr>
            <a:xfrm flipH="1">
              <a:off x="-252536" y="260648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Image 48">
            <a:extLst>
              <a:ext uri="{FF2B5EF4-FFF2-40B4-BE49-F238E27FC236}">
                <a16:creationId xmlns:a16="http://schemas.microsoft.com/office/drawing/2014/main" id="{60333338-DE4E-40ED-9DB6-2DFB675D2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2" name="Titre 41">
            <a:extLst>
              <a:ext uri="{FF2B5EF4-FFF2-40B4-BE49-F238E27FC236}">
                <a16:creationId xmlns:a16="http://schemas.microsoft.com/office/drawing/2014/main" id="{F14351B7-4B85-4EC0-AD2F-742EE77C4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425" y="347663"/>
            <a:ext cx="2577255" cy="1843582"/>
          </a:xfrm>
          <a:custGeom>
            <a:avLst/>
            <a:gdLst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753927 w 1902457"/>
              <a:gd name="connsiteY3" fmla="*/ 1029822 h 1345049"/>
              <a:gd name="connsiteX4" fmla="*/ 148513 w 1902457"/>
              <a:gd name="connsiteY4" fmla="*/ 1341854 h 1345049"/>
              <a:gd name="connsiteX5" fmla="*/ 113689 w 1902457"/>
              <a:gd name="connsiteY5" fmla="*/ 1344835 h 1345049"/>
              <a:gd name="connsiteX6" fmla="*/ 218 w 1902457"/>
              <a:gd name="connsiteY6" fmla="*/ 1216988 h 1345049"/>
              <a:gd name="connsiteX7" fmla="*/ 218 w 1902457"/>
              <a:gd name="connsiteY7" fmla="*/ 498146 h 1345049"/>
              <a:gd name="connsiteX8" fmla="*/ 148513 w 1902457"/>
              <a:gd name="connsiteY8" fmla="*/ 315507 h 1345049"/>
              <a:gd name="connsiteX9" fmla="*/ 1753927 w 1902457"/>
              <a:gd name="connsiteY9" fmla="*/ 3209 h 1345049"/>
              <a:gd name="connsiteX10" fmla="*/ 1789045 w 1902457"/>
              <a:gd name="connsiteY10" fmla="*/ 227 h 1345049"/>
              <a:gd name="connsiteX0" fmla="*/ 1789045 w 1902704"/>
              <a:gd name="connsiteY0" fmla="*/ 227 h 1345049"/>
              <a:gd name="connsiteX1" fmla="*/ 1902222 w 1902704"/>
              <a:gd name="connsiteY1" fmla="*/ 128341 h 1345049"/>
              <a:gd name="connsiteX2" fmla="*/ 1902222 w 1902704"/>
              <a:gd name="connsiteY2" fmla="*/ 847183 h 1345049"/>
              <a:gd name="connsiteX3" fmla="*/ 1753927 w 1902704"/>
              <a:gd name="connsiteY3" fmla="*/ 1029822 h 1345049"/>
              <a:gd name="connsiteX4" fmla="*/ 148513 w 1902704"/>
              <a:gd name="connsiteY4" fmla="*/ 1341854 h 1345049"/>
              <a:gd name="connsiteX5" fmla="*/ 113689 w 1902704"/>
              <a:gd name="connsiteY5" fmla="*/ 1344835 h 1345049"/>
              <a:gd name="connsiteX6" fmla="*/ 218 w 1902704"/>
              <a:gd name="connsiteY6" fmla="*/ 1216988 h 1345049"/>
              <a:gd name="connsiteX7" fmla="*/ 218 w 1902704"/>
              <a:gd name="connsiteY7" fmla="*/ 498146 h 1345049"/>
              <a:gd name="connsiteX8" fmla="*/ 148513 w 1902704"/>
              <a:gd name="connsiteY8" fmla="*/ 315507 h 1345049"/>
              <a:gd name="connsiteX9" fmla="*/ 1753927 w 1902704"/>
              <a:gd name="connsiteY9" fmla="*/ 3209 h 1345049"/>
              <a:gd name="connsiteX10" fmla="*/ 1789045 w 1902704"/>
              <a:gd name="connsiteY10" fmla="*/ 227 h 1345049"/>
              <a:gd name="connsiteX0" fmla="*/ 1789045 w 1917127"/>
              <a:gd name="connsiteY0" fmla="*/ 227 h 1345049"/>
              <a:gd name="connsiteX1" fmla="*/ 1902222 w 1917127"/>
              <a:gd name="connsiteY1" fmla="*/ 128341 h 1345049"/>
              <a:gd name="connsiteX2" fmla="*/ 1902222 w 1917127"/>
              <a:gd name="connsiteY2" fmla="*/ 847183 h 1345049"/>
              <a:gd name="connsiteX3" fmla="*/ 1879992 w 1917127"/>
              <a:gd name="connsiteY3" fmla="*/ 968427 h 1345049"/>
              <a:gd name="connsiteX4" fmla="*/ 1753927 w 1917127"/>
              <a:gd name="connsiteY4" fmla="*/ 1029822 h 1345049"/>
              <a:gd name="connsiteX5" fmla="*/ 148513 w 1917127"/>
              <a:gd name="connsiteY5" fmla="*/ 1341854 h 1345049"/>
              <a:gd name="connsiteX6" fmla="*/ 113689 w 1917127"/>
              <a:gd name="connsiteY6" fmla="*/ 1344835 h 1345049"/>
              <a:gd name="connsiteX7" fmla="*/ 218 w 1917127"/>
              <a:gd name="connsiteY7" fmla="*/ 1216988 h 1345049"/>
              <a:gd name="connsiteX8" fmla="*/ 218 w 1917127"/>
              <a:gd name="connsiteY8" fmla="*/ 498146 h 1345049"/>
              <a:gd name="connsiteX9" fmla="*/ 148513 w 1917127"/>
              <a:gd name="connsiteY9" fmla="*/ 315507 h 1345049"/>
              <a:gd name="connsiteX10" fmla="*/ 1753927 w 1917127"/>
              <a:gd name="connsiteY10" fmla="*/ 3209 h 1345049"/>
              <a:gd name="connsiteX11" fmla="*/ 1789045 w 191712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789045 w 1902457"/>
              <a:gd name="connsiteY0" fmla="*/ 227 h 1345049"/>
              <a:gd name="connsiteX1" fmla="*/ 1902222 w 1902457"/>
              <a:gd name="connsiteY1" fmla="*/ 128341 h 1345049"/>
              <a:gd name="connsiteX2" fmla="*/ 1902222 w 1902457"/>
              <a:gd name="connsiteY2" fmla="*/ 847183 h 1345049"/>
              <a:gd name="connsiteX3" fmla="*/ 1879992 w 1902457"/>
              <a:gd name="connsiteY3" fmla="*/ 968427 h 1345049"/>
              <a:gd name="connsiteX4" fmla="*/ 1753927 w 1902457"/>
              <a:gd name="connsiteY4" fmla="*/ 1029822 h 1345049"/>
              <a:gd name="connsiteX5" fmla="*/ 148513 w 1902457"/>
              <a:gd name="connsiteY5" fmla="*/ 1341854 h 1345049"/>
              <a:gd name="connsiteX6" fmla="*/ 113689 w 1902457"/>
              <a:gd name="connsiteY6" fmla="*/ 1344835 h 1345049"/>
              <a:gd name="connsiteX7" fmla="*/ 218 w 1902457"/>
              <a:gd name="connsiteY7" fmla="*/ 1216988 h 1345049"/>
              <a:gd name="connsiteX8" fmla="*/ 218 w 1902457"/>
              <a:gd name="connsiteY8" fmla="*/ 498146 h 1345049"/>
              <a:gd name="connsiteX9" fmla="*/ 148513 w 1902457"/>
              <a:gd name="connsiteY9" fmla="*/ 315507 h 1345049"/>
              <a:gd name="connsiteX10" fmla="*/ 1753927 w 1902457"/>
              <a:gd name="connsiteY10" fmla="*/ 3209 h 1345049"/>
              <a:gd name="connsiteX11" fmla="*/ 1789045 w 1902457"/>
              <a:gd name="connsiteY11" fmla="*/ 227 h 1345049"/>
              <a:gd name="connsiteX0" fmla="*/ 1865239 w 1910449"/>
              <a:gd name="connsiteY0" fmla="*/ 6256 h 1342420"/>
              <a:gd name="connsiteX1" fmla="*/ 1902222 w 1910449"/>
              <a:gd name="connsiteY1" fmla="*/ 125712 h 1342420"/>
              <a:gd name="connsiteX2" fmla="*/ 1902222 w 1910449"/>
              <a:gd name="connsiteY2" fmla="*/ 844554 h 1342420"/>
              <a:gd name="connsiteX3" fmla="*/ 1879992 w 1910449"/>
              <a:gd name="connsiteY3" fmla="*/ 965798 h 1342420"/>
              <a:gd name="connsiteX4" fmla="*/ 1753927 w 1910449"/>
              <a:gd name="connsiteY4" fmla="*/ 1027193 h 1342420"/>
              <a:gd name="connsiteX5" fmla="*/ 148513 w 1910449"/>
              <a:gd name="connsiteY5" fmla="*/ 1339225 h 1342420"/>
              <a:gd name="connsiteX6" fmla="*/ 113689 w 1910449"/>
              <a:gd name="connsiteY6" fmla="*/ 1342206 h 1342420"/>
              <a:gd name="connsiteX7" fmla="*/ 218 w 1910449"/>
              <a:gd name="connsiteY7" fmla="*/ 1214359 h 1342420"/>
              <a:gd name="connsiteX8" fmla="*/ 218 w 1910449"/>
              <a:gd name="connsiteY8" fmla="*/ 495517 h 1342420"/>
              <a:gd name="connsiteX9" fmla="*/ 148513 w 1910449"/>
              <a:gd name="connsiteY9" fmla="*/ 312878 h 1342420"/>
              <a:gd name="connsiteX10" fmla="*/ 1753927 w 1910449"/>
              <a:gd name="connsiteY10" fmla="*/ 580 h 1342420"/>
              <a:gd name="connsiteX11" fmla="*/ 1865239 w 1910449"/>
              <a:gd name="connsiteY11" fmla="*/ 6256 h 1342420"/>
              <a:gd name="connsiteX0" fmla="*/ 1865239 w 1902954"/>
              <a:gd name="connsiteY0" fmla="*/ 6256 h 1342420"/>
              <a:gd name="connsiteX1" fmla="*/ 1902222 w 1902954"/>
              <a:gd name="connsiteY1" fmla="*/ 125712 h 1342420"/>
              <a:gd name="connsiteX2" fmla="*/ 1902222 w 1902954"/>
              <a:gd name="connsiteY2" fmla="*/ 844554 h 1342420"/>
              <a:gd name="connsiteX3" fmla="*/ 1879992 w 1902954"/>
              <a:gd name="connsiteY3" fmla="*/ 965798 h 1342420"/>
              <a:gd name="connsiteX4" fmla="*/ 1753927 w 1902954"/>
              <a:gd name="connsiteY4" fmla="*/ 1027193 h 1342420"/>
              <a:gd name="connsiteX5" fmla="*/ 148513 w 1902954"/>
              <a:gd name="connsiteY5" fmla="*/ 1339225 h 1342420"/>
              <a:gd name="connsiteX6" fmla="*/ 113689 w 1902954"/>
              <a:gd name="connsiteY6" fmla="*/ 1342206 h 1342420"/>
              <a:gd name="connsiteX7" fmla="*/ 218 w 1902954"/>
              <a:gd name="connsiteY7" fmla="*/ 1214359 h 1342420"/>
              <a:gd name="connsiteX8" fmla="*/ 218 w 1902954"/>
              <a:gd name="connsiteY8" fmla="*/ 495517 h 1342420"/>
              <a:gd name="connsiteX9" fmla="*/ 148513 w 1902954"/>
              <a:gd name="connsiteY9" fmla="*/ 312878 h 1342420"/>
              <a:gd name="connsiteX10" fmla="*/ 1753927 w 1902954"/>
              <a:gd name="connsiteY10" fmla="*/ 580 h 1342420"/>
              <a:gd name="connsiteX11" fmla="*/ 1865239 w 1902954"/>
              <a:gd name="connsiteY11" fmla="*/ 6256 h 1342420"/>
              <a:gd name="connsiteX0" fmla="*/ 1865239 w 1910051"/>
              <a:gd name="connsiteY0" fmla="*/ 31812 h 1367976"/>
              <a:gd name="connsiteX1" fmla="*/ 1902222 w 1910051"/>
              <a:gd name="connsiteY1" fmla="*/ 151268 h 1367976"/>
              <a:gd name="connsiteX2" fmla="*/ 1902222 w 1910051"/>
              <a:gd name="connsiteY2" fmla="*/ 870110 h 1367976"/>
              <a:gd name="connsiteX3" fmla="*/ 1879992 w 1910051"/>
              <a:gd name="connsiteY3" fmla="*/ 991354 h 1367976"/>
              <a:gd name="connsiteX4" fmla="*/ 1753927 w 1910051"/>
              <a:gd name="connsiteY4" fmla="*/ 1052749 h 1367976"/>
              <a:gd name="connsiteX5" fmla="*/ 148513 w 1910051"/>
              <a:gd name="connsiteY5" fmla="*/ 1364781 h 1367976"/>
              <a:gd name="connsiteX6" fmla="*/ 113689 w 1910051"/>
              <a:gd name="connsiteY6" fmla="*/ 1367762 h 1367976"/>
              <a:gd name="connsiteX7" fmla="*/ 218 w 1910051"/>
              <a:gd name="connsiteY7" fmla="*/ 1239915 h 1367976"/>
              <a:gd name="connsiteX8" fmla="*/ 218 w 1910051"/>
              <a:gd name="connsiteY8" fmla="*/ 521073 h 1367976"/>
              <a:gd name="connsiteX9" fmla="*/ 148513 w 1910051"/>
              <a:gd name="connsiteY9" fmla="*/ 338434 h 1367976"/>
              <a:gd name="connsiteX10" fmla="*/ 1753927 w 1910051"/>
              <a:gd name="connsiteY10" fmla="*/ 26136 h 1367976"/>
              <a:gd name="connsiteX11" fmla="*/ 1865239 w 1910051"/>
              <a:gd name="connsiteY11" fmla="*/ 31812 h 1367976"/>
              <a:gd name="connsiteX0" fmla="*/ 1865239 w 1902954"/>
              <a:gd name="connsiteY0" fmla="*/ 14204 h 1350368"/>
              <a:gd name="connsiteX1" fmla="*/ 1902222 w 1902954"/>
              <a:gd name="connsiteY1" fmla="*/ 133660 h 1350368"/>
              <a:gd name="connsiteX2" fmla="*/ 1902222 w 1902954"/>
              <a:gd name="connsiteY2" fmla="*/ 852502 h 1350368"/>
              <a:gd name="connsiteX3" fmla="*/ 1879992 w 1902954"/>
              <a:gd name="connsiteY3" fmla="*/ 973746 h 1350368"/>
              <a:gd name="connsiteX4" fmla="*/ 1753927 w 1902954"/>
              <a:gd name="connsiteY4" fmla="*/ 1035141 h 1350368"/>
              <a:gd name="connsiteX5" fmla="*/ 148513 w 1902954"/>
              <a:gd name="connsiteY5" fmla="*/ 1347173 h 1350368"/>
              <a:gd name="connsiteX6" fmla="*/ 113689 w 1902954"/>
              <a:gd name="connsiteY6" fmla="*/ 1350154 h 1350368"/>
              <a:gd name="connsiteX7" fmla="*/ 218 w 1902954"/>
              <a:gd name="connsiteY7" fmla="*/ 1222307 h 1350368"/>
              <a:gd name="connsiteX8" fmla="*/ 218 w 1902954"/>
              <a:gd name="connsiteY8" fmla="*/ 503465 h 1350368"/>
              <a:gd name="connsiteX9" fmla="*/ 148513 w 1902954"/>
              <a:gd name="connsiteY9" fmla="*/ 320826 h 1350368"/>
              <a:gd name="connsiteX10" fmla="*/ 1753927 w 1902954"/>
              <a:gd name="connsiteY10" fmla="*/ 8528 h 1350368"/>
              <a:gd name="connsiteX11" fmla="*/ 1865239 w 1902954"/>
              <a:gd name="connsiteY11" fmla="*/ 14204 h 1350368"/>
              <a:gd name="connsiteX0" fmla="*/ 1866971 w 1903028"/>
              <a:gd name="connsiteY0" fmla="*/ 13777 h 1350807"/>
              <a:gd name="connsiteX1" fmla="*/ 1902222 w 1903028"/>
              <a:gd name="connsiteY1" fmla="*/ 134099 h 1350807"/>
              <a:gd name="connsiteX2" fmla="*/ 1902222 w 1903028"/>
              <a:gd name="connsiteY2" fmla="*/ 852941 h 1350807"/>
              <a:gd name="connsiteX3" fmla="*/ 1879992 w 1903028"/>
              <a:gd name="connsiteY3" fmla="*/ 974185 h 1350807"/>
              <a:gd name="connsiteX4" fmla="*/ 1753927 w 1903028"/>
              <a:gd name="connsiteY4" fmla="*/ 1035580 h 1350807"/>
              <a:gd name="connsiteX5" fmla="*/ 148513 w 1903028"/>
              <a:gd name="connsiteY5" fmla="*/ 1347612 h 1350807"/>
              <a:gd name="connsiteX6" fmla="*/ 113689 w 1903028"/>
              <a:gd name="connsiteY6" fmla="*/ 1350593 h 1350807"/>
              <a:gd name="connsiteX7" fmla="*/ 218 w 1903028"/>
              <a:gd name="connsiteY7" fmla="*/ 1222746 h 1350807"/>
              <a:gd name="connsiteX8" fmla="*/ 218 w 1903028"/>
              <a:gd name="connsiteY8" fmla="*/ 503904 h 1350807"/>
              <a:gd name="connsiteX9" fmla="*/ 148513 w 1903028"/>
              <a:gd name="connsiteY9" fmla="*/ 321265 h 1350807"/>
              <a:gd name="connsiteX10" fmla="*/ 1753927 w 1903028"/>
              <a:gd name="connsiteY10" fmla="*/ 8967 h 1350807"/>
              <a:gd name="connsiteX11" fmla="*/ 1866971 w 1903028"/>
              <a:gd name="connsiteY11" fmla="*/ 13777 h 1350807"/>
              <a:gd name="connsiteX0" fmla="*/ 1867837 w 1903070"/>
              <a:gd name="connsiteY0" fmla="*/ 12609 h 1352236"/>
              <a:gd name="connsiteX1" fmla="*/ 1902222 w 1903070"/>
              <a:gd name="connsiteY1" fmla="*/ 135528 h 1352236"/>
              <a:gd name="connsiteX2" fmla="*/ 1902222 w 1903070"/>
              <a:gd name="connsiteY2" fmla="*/ 854370 h 1352236"/>
              <a:gd name="connsiteX3" fmla="*/ 1879992 w 1903070"/>
              <a:gd name="connsiteY3" fmla="*/ 975614 h 1352236"/>
              <a:gd name="connsiteX4" fmla="*/ 1753927 w 1903070"/>
              <a:gd name="connsiteY4" fmla="*/ 1037009 h 1352236"/>
              <a:gd name="connsiteX5" fmla="*/ 148513 w 1903070"/>
              <a:gd name="connsiteY5" fmla="*/ 1349041 h 1352236"/>
              <a:gd name="connsiteX6" fmla="*/ 113689 w 1903070"/>
              <a:gd name="connsiteY6" fmla="*/ 1352022 h 1352236"/>
              <a:gd name="connsiteX7" fmla="*/ 218 w 1903070"/>
              <a:gd name="connsiteY7" fmla="*/ 1224175 h 1352236"/>
              <a:gd name="connsiteX8" fmla="*/ 218 w 1903070"/>
              <a:gd name="connsiteY8" fmla="*/ 505333 h 1352236"/>
              <a:gd name="connsiteX9" fmla="*/ 148513 w 1903070"/>
              <a:gd name="connsiteY9" fmla="*/ 322694 h 1352236"/>
              <a:gd name="connsiteX10" fmla="*/ 1753927 w 1903070"/>
              <a:gd name="connsiteY10" fmla="*/ 10396 h 1352236"/>
              <a:gd name="connsiteX11" fmla="*/ 1867837 w 1903070"/>
              <a:gd name="connsiteY11" fmla="*/ 12609 h 1352236"/>
              <a:gd name="connsiteX0" fmla="*/ 1867837 w 1903114"/>
              <a:gd name="connsiteY0" fmla="*/ 11642 h 1351269"/>
              <a:gd name="connsiteX1" fmla="*/ 1902222 w 1903114"/>
              <a:gd name="connsiteY1" fmla="*/ 134561 h 1351269"/>
              <a:gd name="connsiteX2" fmla="*/ 1902222 w 1903114"/>
              <a:gd name="connsiteY2" fmla="*/ 853403 h 1351269"/>
              <a:gd name="connsiteX3" fmla="*/ 1879992 w 1903114"/>
              <a:gd name="connsiteY3" fmla="*/ 974647 h 1351269"/>
              <a:gd name="connsiteX4" fmla="*/ 1753927 w 1903114"/>
              <a:gd name="connsiteY4" fmla="*/ 1036042 h 1351269"/>
              <a:gd name="connsiteX5" fmla="*/ 148513 w 1903114"/>
              <a:gd name="connsiteY5" fmla="*/ 1348074 h 1351269"/>
              <a:gd name="connsiteX6" fmla="*/ 113689 w 1903114"/>
              <a:gd name="connsiteY6" fmla="*/ 1351055 h 1351269"/>
              <a:gd name="connsiteX7" fmla="*/ 218 w 1903114"/>
              <a:gd name="connsiteY7" fmla="*/ 1223208 h 1351269"/>
              <a:gd name="connsiteX8" fmla="*/ 218 w 1903114"/>
              <a:gd name="connsiteY8" fmla="*/ 504366 h 1351269"/>
              <a:gd name="connsiteX9" fmla="*/ 148513 w 1903114"/>
              <a:gd name="connsiteY9" fmla="*/ 321727 h 1351269"/>
              <a:gd name="connsiteX10" fmla="*/ 1753927 w 1903114"/>
              <a:gd name="connsiteY10" fmla="*/ 9429 h 1351269"/>
              <a:gd name="connsiteX11" fmla="*/ 1867837 w 1903114"/>
              <a:gd name="connsiteY11" fmla="*/ 11642 h 1351269"/>
              <a:gd name="connsiteX0" fmla="*/ 1867837 w 1903042"/>
              <a:gd name="connsiteY0" fmla="*/ 13412 h 1353039"/>
              <a:gd name="connsiteX1" fmla="*/ 1902222 w 1903042"/>
              <a:gd name="connsiteY1" fmla="*/ 136331 h 1353039"/>
              <a:gd name="connsiteX2" fmla="*/ 1902222 w 1903042"/>
              <a:gd name="connsiteY2" fmla="*/ 855173 h 1353039"/>
              <a:gd name="connsiteX3" fmla="*/ 1879992 w 1903042"/>
              <a:gd name="connsiteY3" fmla="*/ 976417 h 1353039"/>
              <a:gd name="connsiteX4" fmla="*/ 1753927 w 1903042"/>
              <a:gd name="connsiteY4" fmla="*/ 1037812 h 1353039"/>
              <a:gd name="connsiteX5" fmla="*/ 148513 w 1903042"/>
              <a:gd name="connsiteY5" fmla="*/ 1349844 h 1353039"/>
              <a:gd name="connsiteX6" fmla="*/ 113689 w 1903042"/>
              <a:gd name="connsiteY6" fmla="*/ 1352825 h 1353039"/>
              <a:gd name="connsiteX7" fmla="*/ 218 w 1903042"/>
              <a:gd name="connsiteY7" fmla="*/ 1224978 h 1353039"/>
              <a:gd name="connsiteX8" fmla="*/ 218 w 1903042"/>
              <a:gd name="connsiteY8" fmla="*/ 506136 h 1353039"/>
              <a:gd name="connsiteX9" fmla="*/ 148513 w 1903042"/>
              <a:gd name="connsiteY9" fmla="*/ 323497 h 1353039"/>
              <a:gd name="connsiteX10" fmla="*/ 1753927 w 1903042"/>
              <a:gd name="connsiteY10" fmla="*/ 11199 h 1353039"/>
              <a:gd name="connsiteX11" fmla="*/ 1867837 w 1903042"/>
              <a:gd name="connsiteY11" fmla="*/ 13412 h 1353039"/>
              <a:gd name="connsiteX0" fmla="*/ 1867837 w 1903351"/>
              <a:gd name="connsiteY0" fmla="*/ 11934 h 1351561"/>
              <a:gd name="connsiteX1" fmla="*/ 1902222 w 1903351"/>
              <a:gd name="connsiteY1" fmla="*/ 134853 h 1351561"/>
              <a:gd name="connsiteX2" fmla="*/ 1902222 w 1903351"/>
              <a:gd name="connsiteY2" fmla="*/ 853695 h 1351561"/>
              <a:gd name="connsiteX3" fmla="*/ 1879992 w 1903351"/>
              <a:gd name="connsiteY3" fmla="*/ 974939 h 1351561"/>
              <a:gd name="connsiteX4" fmla="*/ 1753927 w 1903351"/>
              <a:gd name="connsiteY4" fmla="*/ 1036334 h 1351561"/>
              <a:gd name="connsiteX5" fmla="*/ 148513 w 1903351"/>
              <a:gd name="connsiteY5" fmla="*/ 1348366 h 1351561"/>
              <a:gd name="connsiteX6" fmla="*/ 113689 w 1903351"/>
              <a:gd name="connsiteY6" fmla="*/ 1351347 h 1351561"/>
              <a:gd name="connsiteX7" fmla="*/ 218 w 1903351"/>
              <a:gd name="connsiteY7" fmla="*/ 1223500 h 1351561"/>
              <a:gd name="connsiteX8" fmla="*/ 218 w 1903351"/>
              <a:gd name="connsiteY8" fmla="*/ 504658 h 1351561"/>
              <a:gd name="connsiteX9" fmla="*/ 148513 w 1903351"/>
              <a:gd name="connsiteY9" fmla="*/ 322019 h 1351561"/>
              <a:gd name="connsiteX10" fmla="*/ 1753927 w 1903351"/>
              <a:gd name="connsiteY10" fmla="*/ 9721 h 1351561"/>
              <a:gd name="connsiteX11" fmla="*/ 1867837 w 1903351"/>
              <a:gd name="connsiteY11" fmla="*/ 11934 h 1351561"/>
              <a:gd name="connsiteX0" fmla="*/ 1867837 w 1903351"/>
              <a:gd name="connsiteY0" fmla="*/ 12533 h 1352160"/>
              <a:gd name="connsiteX1" fmla="*/ 1902222 w 1903351"/>
              <a:gd name="connsiteY1" fmla="*/ 135452 h 1352160"/>
              <a:gd name="connsiteX2" fmla="*/ 1902222 w 1903351"/>
              <a:gd name="connsiteY2" fmla="*/ 854294 h 1352160"/>
              <a:gd name="connsiteX3" fmla="*/ 1879992 w 1903351"/>
              <a:gd name="connsiteY3" fmla="*/ 975538 h 1352160"/>
              <a:gd name="connsiteX4" fmla="*/ 1753927 w 1903351"/>
              <a:gd name="connsiteY4" fmla="*/ 1036933 h 1352160"/>
              <a:gd name="connsiteX5" fmla="*/ 148513 w 1903351"/>
              <a:gd name="connsiteY5" fmla="*/ 1348965 h 1352160"/>
              <a:gd name="connsiteX6" fmla="*/ 113689 w 1903351"/>
              <a:gd name="connsiteY6" fmla="*/ 1351946 h 1352160"/>
              <a:gd name="connsiteX7" fmla="*/ 218 w 1903351"/>
              <a:gd name="connsiteY7" fmla="*/ 1224099 h 1352160"/>
              <a:gd name="connsiteX8" fmla="*/ 218 w 1903351"/>
              <a:gd name="connsiteY8" fmla="*/ 505257 h 1352160"/>
              <a:gd name="connsiteX9" fmla="*/ 148513 w 1903351"/>
              <a:gd name="connsiteY9" fmla="*/ 322618 h 1352160"/>
              <a:gd name="connsiteX10" fmla="*/ 1753927 w 1903351"/>
              <a:gd name="connsiteY10" fmla="*/ 10320 h 1352160"/>
              <a:gd name="connsiteX11" fmla="*/ 1867837 w 1903351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333"/>
              <a:gd name="connsiteY0" fmla="*/ 12533 h 1352160"/>
              <a:gd name="connsiteX1" fmla="*/ 1902222 w 1902333"/>
              <a:gd name="connsiteY1" fmla="*/ 135452 h 1352160"/>
              <a:gd name="connsiteX2" fmla="*/ 1902222 w 1902333"/>
              <a:gd name="connsiteY2" fmla="*/ 854294 h 1352160"/>
              <a:gd name="connsiteX3" fmla="*/ 1879992 w 1902333"/>
              <a:gd name="connsiteY3" fmla="*/ 975538 h 1352160"/>
              <a:gd name="connsiteX4" fmla="*/ 1753927 w 1902333"/>
              <a:gd name="connsiteY4" fmla="*/ 1036933 h 1352160"/>
              <a:gd name="connsiteX5" fmla="*/ 148513 w 1902333"/>
              <a:gd name="connsiteY5" fmla="*/ 1348965 h 1352160"/>
              <a:gd name="connsiteX6" fmla="*/ 113689 w 1902333"/>
              <a:gd name="connsiteY6" fmla="*/ 1351946 h 1352160"/>
              <a:gd name="connsiteX7" fmla="*/ 218 w 1902333"/>
              <a:gd name="connsiteY7" fmla="*/ 1224099 h 1352160"/>
              <a:gd name="connsiteX8" fmla="*/ 218 w 1902333"/>
              <a:gd name="connsiteY8" fmla="*/ 505257 h 1352160"/>
              <a:gd name="connsiteX9" fmla="*/ 148513 w 1902333"/>
              <a:gd name="connsiteY9" fmla="*/ 322618 h 1352160"/>
              <a:gd name="connsiteX10" fmla="*/ 1753927 w 1902333"/>
              <a:gd name="connsiteY10" fmla="*/ 10320 h 1352160"/>
              <a:gd name="connsiteX11" fmla="*/ 1867837 w 1902333"/>
              <a:gd name="connsiteY11" fmla="*/ 12533 h 1352160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148513 w 1902508"/>
              <a:gd name="connsiteY9" fmla="*/ 323071 h 1352613"/>
              <a:gd name="connsiteX10" fmla="*/ 1753927 w 1902508"/>
              <a:gd name="connsiteY10" fmla="*/ 10773 h 1352613"/>
              <a:gd name="connsiteX11" fmla="*/ 1867837 w 1902508"/>
              <a:gd name="connsiteY11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58707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76118 w 1910789"/>
              <a:gd name="connsiteY0" fmla="*/ 12986 h 1352613"/>
              <a:gd name="connsiteX1" fmla="*/ 1910503 w 1910789"/>
              <a:gd name="connsiteY1" fmla="*/ 135905 h 1352613"/>
              <a:gd name="connsiteX2" fmla="*/ 1910503 w 1910789"/>
              <a:gd name="connsiteY2" fmla="*/ 854747 h 1352613"/>
              <a:gd name="connsiteX3" fmla="*/ 1888273 w 1910789"/>
              <a:gd name="connsiteY3" fmla="*/ 975991 h 1352613"/>
              <a:gd name="connsiteX4" fmla="*/ 1762208 w 1910789"/>
              <a:gd name="connsiteY4" fmla="*/ 1037386 h 1352613"/>
              <a:gd name="connsiteX5" fmla="*/ 156794 w 1910789"/>
              <a:gd name="connsiteY5" fmla="*/ 1349418 h 1352613"/>
              <a:gd name="connsiteX6" fmla="*/ 121970 w 1910789"/>
              <a:gd name="connsiteY6" fmla="*/ 1352399 h 1352613"/>
              <a:gd name="connsiteX7" fmla="*/ 8499 w 1910789"/>
              <a:gd name="connsiteY7" fmla="*/ 1224552 h 1352613"/>
              <a:gd name="connsiteX8" fmla="*/ 8499 w 1910789"/>
              <a:gd name="connsiteY8" fmla="*/ 505710 h 1352613"/>
              <a:gd name="connsiteX9" fmla="*/ 40147 w 1910789"/>
              <a:gd name="connsiteY9" fmla="*/ 371602 h 1352613"/>
              <a:gd name="connsiteX10" fmla="*/ 156794 w 1910789"/>
              <a:gd name="connsiteY10" fmla="*/ 323071 h 1352613"/>
              <a:gd name="connsiteX11" fmla="*/ 1762208 w 1910789"/>
              <a:gd name="connsiteY11" fmla="*/ 10773 h 1352613"/>
              <a:gd name="connsiteX12" fmla="*/ 1876118 w 1910789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67837 w 1902508"/>
              <a:gd name="connsiteY0" fmla="*/ 12986 h 1352613"/>
              <a:gd name="connsiteX1" fmla="*/ 1902222 w 1902508"/>
              <a:gd name="connsiteY1" fmla="*/ 135905 h 1352613"/>
              <a:gd name="connsiteX2" fmla="*/ 1902222 w 1902508"/>
              <a:gd name="connsiteY2" fmla="*/ 854747 h 1352613"/>
              <a:gd name="connsiteX3" fmla="*/ 1879992 w 1902508"/>
              <a:gd name="connsiteY3" fmla="*/ 975991 h 1352613"/>
              <a:gd name="connsiteX4" fmla="*/ 1753927 w 1902508"/>
              <a:gd name="connsiteY4" fmla="*/ 1037386 h 1352613"/>
              <a:gd name="connsiteX5" fmla="*/ 148513 w 1902508"/>
              <a:gd name="connsiteY5" fmla="*/ 1349418 h 1352613"/>
              <a:gd name="connsiteX6" fmla="*/ 113689 w 1902508"/>
              <a:gd name="connsiteY6" fmla="*/ 1352399 h 1352613"/>
              <a:gd name="connsiteX7" fmla="*/ 218 w 1902508"/>
              <a:gd name="connsiteY7" fmla="*/ 1224552 h 1352613"/>
              <a:gd name="connsiteX8" fmla="*/ 218 w 1902508"/>
              <a:gd name="connsiteY8" fmla="*/ 505710 h 1352613"/>
              <a:gd name="connsiteX9" fmla="*/ 31866 w 1902508"/>
              <a:gd name="connsiteY9" fmla="*/ 371602 h 1352613"/>
              <a:gd name="connsiteX10" fmla="*/ 148513 w 1902508"/>
              <a:gd name="connsiteY10" fmla="*/ 323071 h 1352613"/>
              <a:gd name="connsiteX11" fmla="*/ 1753927 w 1902508"/>
              <a:gd name="connsiteY11" fmla="*/ 10773 h 1352613"/>
              <a:gd name="connsiteX12" fmla="*/ 1867837 w 1902508"/>
              <a:gd name="connsiteY12" fmla="*/ 12986 h 1352613"/>
              <a:gd name="connsiteX0" fmla="*/ 1877048 w 1911719"/>
              <a:gd name="connsiteY0" fmla="*/ 12986 h 1350365"/>
              <a:gd name="connsiteX1" fmla="*/ 1911433 w 1911719"/>
              <a:gd name="connsiteY1" fmla="*/ 135905 h 1350365"/>
              <a:gd name="connsiteX2" fmla="*/ 1911433 w 1911719"/>
              <a:gd name="connsiteY2" fmla="*/ 854747 h 1350365"/>
              <a:gd name="connsiteX3" fmla="*/ 1889203 w 1911719"/>
              <a:gd name="connsiteY3" fmla="*/ 975991 h 1350365"/>
              <a:gd name="connsiteX4" fmla="*/ 1763138 w 1911719"/>
              <a:gd name="connsiteY4" fmla="*/ 1037386 h 1350365"/>
              <a:gd name="connsiteX5" fmla="*/ 157724 w 1911719"/>
              <a:gd name="connsiteY5" fmla="*/ 1349418 h 1350365"/>
              <a:gd name="connsiteX6" fmla="*/ 43612 w 1911719"/>
              <a:gd name="connsiteY6" fmla="*/ 1347594 h 1350365"/>
              <a:gd name="connsiteX7" fmla="*/ 9429 w 1911719"/>
              <a:gd name="connsiteY7" fmla="*/ 1224552 h 1350365"/>
              <a:gd name="connsiteX8" fmla="*/ 9429 w 1911719"/>
              <a:gd name="connsiteY8" fmla="*/ 505710 h 1350365"/>
              <a:gd name="connsiteX9" fmla="*/ 41077 w 1911719"/>
              <a:gd name="connsiteY9" fmla="*/ 371602 h 1350365"/>
              <a:gd name="connsiteX10" fmla="*/ 157724 w 1911719"/>
              <a:gd name="connsiteY10" fmla="*/ 323071 h 1350365"/>
              <a:gd name="connsiteX11" fmla="*/ 1763138 w 1911719"/>
              <a:gd name="connsiteY11" fmla="*/ 10773 h 1350365"/>
              <a:gd name="connsiteX12" fmla="*/ 1877048 w 1911719"/>
              <a:gd name="connsiteY12" fmla="*/ 12986 h 1350365"/>
              <a:gd name="connsiteX0" fmla="*/ 1873126 w 1907797"/>
              <a:gd name="connsiteY0" fmla="*/ 12986 h 1359744"/>
              <a:gd name="connsiteX1" fmla="*/ 1907511 w 1907797"/>
              <a:gd name="connsiteY1" fmla="*/ 135905 h 1359744"/>
              <a:gd name="connsiteX2" fmla="*/ 1907511 w 1907797"/>
              <a:gd name="connsiteY2" fmla="*/ 854747 h 1359744"/>
              <a:gd name="connsiteX3" fmla="*/ 1885281 w 1907797"/>
              <a:gd name="connsiteY3" fmla="*/ 975991 h 1359744"/>
              <a:gd name="connsiteX4" fmla="*/ 1759216 w 1907797"/>
              <a:gd name="connsiteY4" fmla="*/ 1037386 h 1359744"/>
              <a:gd name="connsiteX5" fmla="*/ 153802 w 1907797"/>
              <a:gd name="connsiteY5" fmla="*/ 1349418 h 1359744"/>
              <a:gd name="connsiteX6" fmla="*/ 39690 w 1907797"/>
              <a:gd name="connsiteY6" fmla="*/ 1347594 h 1359744"/>
              <a:gd name="connsiteX7" fmla="*/ 5507 w 1907797"/>
              <a:gd name="connsiteY7" fmla="*/ 1224552 h 1359744"/>
              <a:gd name="connsiteX8" fmla="*/ 5507 w 1907797"/>
              <a:gd name="connsiteY8" fmla="*/ 505710 h 1359744"/>
              <a:gd name="connsiteX9" fmla="*/ 37155 w 1907797"/>
              <a:gd name="connsiteY9" fmla="*/ 371602 h 1359744"/>
              <a:gd name="connsiteX10" fmla="*/ 153802 w 1907797"/>
              <a:gd name="connsiteY10" fmla="*/ 323071 h 1359744"/>
              <a:gd name="connsiteX11" fmla="*/ 1759216 w 1907797"/>
              <a:gd name="connsiteY11" fmla="*/ 10773 h 1359744"/>
              <a:gd name="connsiteX12" fmla="*/ 1873126 w 1907797"/>
              <a:gd name="connsiteY12" fmla="*/ 12986 h 1359744"/>
              <a:gd name="connsiteX0" fmla="*/ 1871434 w 1906105"/>
              <a:gd name="connsiteY0" fmla="*/ 12986 h 1359744"/>
              <a:gd name="connsiteX1" fmla="*/ 1905819 w 1906105"/>
              <a:gd name="connsiteY1" fmla="*/ 135905 h 1359744"/>
              <a:gd name="connsiteX2" fmla="*/ 1905819 w 1906105"/>
              <a:gd name="connsiteY2" fmla="*/ 854747 h 1359744"/>
              <a:gd name="connsiteX3" fmla="*/ 1883589 w 1906105"/>
              <a:gd name="connsiteY3" fmla="*/ 975991 h 1359744"/>
              <a:gd name="connsiteX4" fmla="*/ 1757524 w 1906105"/>
              <a:gd name="connsiteY4" fmla="*/ 1037386 h 1359744"/>
              <a:gd name="connsiteX5" fmla="*/ 152110 w 1906105"/>
              <a:gd name="connsiteY5" fmla="*/ 1349418 h 1359744"/>
              <a:gd name="connsiteX6" fmla="*/ 37998 w 1906105"/>
              <a:gd name="connsiteY6" fmla="*/ 1347594 h 1359744"/>
              <a:gd name="connsiteX7" fmla="*/ 3815 w 1906105"/>
              <a:gd name="connsiteY7" fmla="*/ 1224552 h 1359744"/>
              <a:gd name="connsiteX8" fmla="*/ 3815 w 1906105"/>
              <a:gd name="connsiteY8" fmla="*/ 505710 h 1359744"/>
              <a:gd name="connsiteX9" fmla="*/ 35463 w 1906105"/>
              <a:gd name="connsiteY9" fmla="*/ 371602 h 1359744"/>
              <a:gd name="connsiteX10" fmla="*/ 152110 w 1906105"/>
              <a:gd name="connsiteY10" fmla="*/ 323071 h 1359744"/>
              <a:gd name="connsiteX11" fmla="*/ 1757524 w 1906105"/>
              <a:gd name="connsiteY11" fmla="*/ 10773 h 1359744"/>
              <a:gd name="connsiteX12" fmla="*/ 1871434 w 1906105"/>
              <a:gd name="connsiteY12" fmla="*/ 12986 h 1359744"/>
              <a:gd name="connsiteX0" fmla="*/ 1867619 w 1902290"/>
              <a:gd name="connsiteY0" fmla="*/ 12986 h 1362553"/>
              <a:gd name="connsiteX1" fmla="*/ 1902004 w 1902290"/>
              <a:gd name="connsiteY1" fmla="*/ 135905 h 1362553"/>
              <a:gd name="connsiteX2" fmla="*/ 1902004 w 1902290"/>
              <a:gd name="connsiteY2" fmla="*/ 854747 h 1362553"/>
              <a:gd name="connsiteX3" fmla="*/ 1879774 w 1902290"/>
              <a:gd name="connsiteY3" fmla="*/ 975991 h 1362553"/>
              <a:gd name="connsiteX4" fmla="*/ 1753709 w 1902290"/>
              <a:gd name="connsiteY4" fmla="*/ 1037386 h 1362553"/>
              <a:gd name="connsiteX5" fmla="*/ 148295 w 1902290"/>
              <a:gd name="connsiteY5" fmla="*/ 1349418 h 1362553"/>
              <a:gd name="connsiteX6" fmla="*/ 34183 w 1902290"/>
              <a:gd name="connsiteY6" fmla="*/ 1347594 h 1362553"/>
              <a:gd name="connsiteX7" fmla="*/ 0 w 1902290"/>
              <a:gd name="connsiteY7" fmla="*/ 1224552 h 1362553"/>
              <a:gd name="connsiteX8" fmla="*/ 0 w 1902290"/>
              <a:gd name="connsiteY8" fmla="*/ 505710 h 1362553"/>
              <a:gd name="connsiteX9" fmla="*/ 31648 w 1902290"/>
              <a:gd name="connsiteY9" fmla="*/ 371602 h 1362553"/>
              <a:gd name="connsiteX10" fmla="*/ 148295 w 1902290"/>
              <a:gd name="connsiteY10" fmla="*/ 323071 h 1362553"/>
              <a:gd name="connsiteX11" fmla="*/ 1753709 w 1902290"/>
              <a:gd name="connsiteY11" fmla="*/ 10773 h 1362553"/>
              <a:gd name="connsiteX12" fmla="*/ 1867619 w 1902290"/>
              <a:gd name="connsiteY12" fmla="*/ 12986 h 1362553"/>
              <a:gd name="connsiteX0" fmla="*/ 1867619 w 1902290"/>
              <a:gd name="connsiteY0" fmla="*/ 12986 h 1362704"/>
              <a:gd name="connsiteX1" fmla="*/ 1902004 w 1902290"/>
              <a:gd name="connsiteY1" fmla="*/ 135905 h 1362704"/>
              <a:gd name="connsiteX2" fmla="*/ 1902004 w 1902290"/>
              <a:gd name="connsiteY2" fmla="*/ 854747 h 1362704"/>
              <a:gd name="connsiteX3" fmla="*/ 1879774 w 1902290"/>
              <a:gd name="connsiteY3" fmla="*/ 975991 h 1362704"/>
              <a:gd name="connsiteX4" fmla="*/ 1753709 w 1902290"/>
              <a:gd name="connsiteY4" fmla="*/ 1037386 h 1362704"/>
              <a:gd name="connsiteX5" fmla="*/ 148295 w 1902290"/>
              <a:gd name="connsiteY5" fmla="*/ 1349418 h 1362704"/>
              <a:gd name="connsiteX6" fmla="*/ 34183 w 1902290"/>
              <a:gd name="connsiteY6" fmla="*/ 1347594 h 1362704"/>
              <a:gd name="connsiteX7" fmla="*/ 0 w 1902290"/>
              <a:gd name="connsiteY7" fmla="*/ 1224552 h 1362704"/>
              <a:gd name="connsiteX8" fmla="*/ 0 w 1902290"/>
              <a:gd name="connsiteY8" fmla="*/ 505710 h 1362704"/>
              <a:gd name="connsiteX9" fmla="*/ 31648 w 1902290"/>
              <a:gd name="connsiteY9" fmla="*/ 371602 h 1362704"/>
              <a:gd name="connsiteX10" fmla="*/ 148295 w 1902290"/>
              <a:gd name="connsiteY10" fmla="*/ 323071 h 1362704"/>
              <a:gd name="connsiteX11" fmla="*/ 1753709 w 1902290"/>
              <a:gd name="connsiteY11" fmla="*/ 10773 h 1362704"/>
              <a:gd name="connsiteX12" fmla="*/ 1867619 w 1902290"/>
              <a:gd name="connsiteY12" fmla="*/ 12986 h 1362704"/>
              <a:gd name="connsiteX0" fmla="*/ 1867619 w 1902290"/>
              <a:gd name="connsiteY0" fmla="*/ 12986 h 1360287"/>
              <a:gd name="connsiteX1" fmla="*/ 1902004 w 1902290"/>
              <a:gd name="connsiteY1" fmla="*/ 135905 h 1360287"/>
              <a:gd name="connsiteX2" fmla="*/ 1902004 w 1902290"/>
              <a:gd name="connsiteY2" fmla="*/ 854747 h 1360287"/>
              <a:gd name="connsiteX3" fmla="*/ 1879774 w 1902290"/>
              <a:gd name="connsiteY3" fmla="*/ 975991 h 1360287"/>
              <a:gd name="connsiteX4" fmla="*/ 1753709 w 1902290"/>
              <a:gd name="connsiteY4" fmla="*/ 1037386 h 1360287"/>
              <a:gd name="connsiteX5" fmla="*/ 148295 w 1902290"/>
              <a:gd name="connsiteY5" fmla="*/ 1349418 h 1360287"/>
              <a:gd name="connsiteX6" fmla="*/ 34183 w 1902290"/>
              <a:gd name="connsiteY6" fmla="*/ 1347594 h 1360287"/>
              <a:gd name="connsiteX7" fmla="*/ 0 w 1902290"/>
              <a:gd name="connsiteY7" fmla="*/ 1224552 h 1360287"/>
              <a:gd name="connsiteX8" fmla="*/ 0 w 1902290"/>
              <a:gd name="connsiteY8" fmla="*/ 505710 h 1360287"/>
              <a:gd name="connsiteX9" fmla="*/ 31648 w 1902290"/>
              <a:gd name="connsiteY9" fmla="*/ 371602 h 1360287"/>
              <a:gd name="connsiteX10" fmla="*/ 148295 w 1902290"/>
              <a:gd name="connsiteY10" fmla="*/ 323071 h 1360287"/>
              <a:gd name="connsiteX11" fmla="*/ 1753709 w 1902290"/>
              <a:gd name="connsiteY11" fmla="*/ 10773 h 1360287"/>
              <a:gd name="connsiteX12" fmla="*/ 1867619 w 1902290"/>
              <a:gd name="connsiteY12" fmla="*/ 12986 h 1360287"/>
              <a:gd name="connsiteX0" fmla="*/ 1867619 w 1902290"/>
              <a:gd name="connsiteY0" fmla="*/ 12986 h 1358026"/>
              <a:gd name="connsiteX1" fmla="*/ 1902004 w 1902290"/>
              <a:gd name="connsiteY1" fmla="*/ 135905 h 1358026"/>
              <a:gd name="connsiteX2" fmla="*/ 1902004 w 1902290"/>
              <a:gd name="connsiteY2" fmla="*/ 854747 h 1358026"/>
              <a:gd name="connsiteX3" fmla="*/ 1879774 w 1902290"/>
              <a:gd name="connsiteY3" fmla="*/ 975991 h 1358026"/>
              <a:gd name="connsiteX4" fmla="*/ 1753709 w 1902290"/>
              <a:gd name="connsiteY4" fmla="*/ 1037386 h 1358026"/>
              <a:gd name="connsiteX5" fmla="*/ 149096 w 1902290"/>
              <a:gd name="connsiteY5" fmla="*/ 1349418 h 1358026"/>
              <a:gd name="connsiteX6" fmla="*/ 34183 w 1902290"/>
              <a:gd name="connsiteY6" fmla="*/ 1347594 h 1358026"/>
              <a:gd name="connsiteX7" fmla="*/ 0 w 1902290"/>
              <a:gd name="connsiteY7" fmla="*/ 1224552 h 1358026"/>
              <a:gd name="connsiteX8" fmla="*/ 0 w 1902290"/>
              <a:gd name="connsiteY8" fmla="*/ 505710 h 1358026"/>
              <a:gd name="connsiteX9" fmla="*/ 31648 w 1902290"/>
              <a:gd name="connsiteY9" fmla="*/ 371602 h 1358026"/>
              <a:gd name="connsiteX10" fmla="*/ 148295 w 1902290"/>
              <a:gd name="connsiteY10" fmla="*/ 323071 h 1358026"/>
              <a:gd name="connsiteX11" fmla="*/ 1753709 w 1902290"/>
              <a:gd name="connsiteY11" fmla="*/ 10773 h 1358026"/>
              <a:gd name="connsiteX12" fmla="*/ 1867619 w 1902290"/>
              <a:gd name="connsiteY12" fmla="*/ 12986 h 1358026"/>
              <a:gd name="connsiteX0" fmla="*/ 1867619 w 1902290"/>
              <a:gd name="connsiteY0" fmla="*/ 12986 h 1359434"/>
              <a:gd name="connsiteX1" fmla="*/ 1902004 w 1902290"/>
              <a:gd name="connsiteY1" fmla="*/ 135905 h 1359434"/>
              <a:gd name="connsiteX2" fmla="*/ 1902004 w 1902290"/>
              <a:gd name="connsiteY2" fmla="*/ 854747 h 1359434"/>
              <a:gd name="connsiteX3" fmla="*/ 1879774 w 1902290"/>
              <a:gd name="connsiteY3" fmla="*/ 975991 h 1359434"/>
              <a:gd name="connsiteX4" fmla="*/ 1753709 w 1902290"/>
              <a:gd name="connsiteY4" fmla="*/ 1037386 h 1359434"/>
              <a:gd name="connsiteX5" fmla="*/ 149096 w 1902290"/>
              <a:gd name="connsiteY5" fmla="*/ 1349418 h 1359434"/>
              <a:gd name="connsiteX6" fmla="*/ 34183 w 1902290"/>
              <a:gd name="connsiteY6" fmla="*/ 1347594 h 1359434"/>
              <a:gd name="connsiteX7" fmla="*/ 0 w 1902290"/>
              <a:gd name="connsiteY7" fmla="*/ 1224552 h 1359434"/>
              <a:gd name="connsiteX8" fmla="*/ 0 w 1902290"/>
              <a:gd name="connsiteY8" fmla="*/ 505710 h 1359434"/>
              <a:gd name="connsiteX9" fmla="*/ 31648 w 1902290"/>
              <a:gd name="connsiteY9" fmla="*/ 371602 h 1359434"/>
              <a:gd name="connsiteX10" fmla="*/ 148295 w 1902290"/>
              <a:gd name="connsiteY10" fmla="*/ 323071 h 1359434"/>
              <a:gd name="connsiteX11" fmla="*/ 1753709 w 1902290"/>
              <a:gd name="connsiteY11" fmla="*/ 10773 h 1359434"/>
              <a:gd name="connsiteX12" fmla="*/ 1867619 w 1902290"/>
              <a:gd name="connsiteY12" fmla="*/ 12986 h 1359434"/>
              <a:gd name="connsiteX0" fmla="*/ 1867619 w 1902290"/>
              <a:gd name="connsiteY0" fmla="*/ 12986 h 1358913"/>
              <a:gd name="connsiteX1" fmla="*/ 1902004 w 1902290"/>
              <a:gd name="connsiteY1" fmla="*/ 135905 h 1358913"/>
              <a:gd name="connsiteX2" fmla="*/ 1902004 w 1902290"/>
              <a:gd name="connsiteY2" fmla="*/ 854747 h 1358913"/>
              <a:gd name="connsiteX3" fmla="*/ 1879774 w 1902290"/>
              <a:gd name="connsiteY3" fmla="*/ 975991 h 1358913"/>
              <a:gd name="connsiteX4" fmla="*/ 1753709 w 1902290"/>
              <a:gd name="connsiteY4" fmla="*/ 1037386 h 1358913"/>
              <a:gd name="connsiteX5" fmla="*/ 149096 w 1902290"/>
              <a:gd name="connsiteY5" fmla="*/ 1349418 h 1358913"/>
              <a:gd name="connsiteX6" fmla="*/ 34183 w 1902290"/>
              <a:gd name="connsiteY6" fmla="*/ 1347594 h 1358913"/>
              <a:gd name="connsiteX7" fmla="*/ 0 w 1902290"/>
              <a:gd name="connsiteY7" fmla="*/ 1224552 h 1358913"/>
              <a:gd name="connsiteX8" fmla="*/ 0 w 1902290"/>
              <a:gd name="connsiteY8" fmla="*/ 505710 h 1358913"/>
              <a:gd name="connsiteX9" fmla="*/ 31648 w 1902290"/>
              <a:gd name="connsiteY9" fmla="*/ 371602 h 1358913"/>
              <a:gd name="connsiteX10" fmla="*/ 148295 w 1902290"/>
              <a:gd name="connsiteY10" fmla="*/ 323071 h 1358913"/>
              <a:gd name="connsiteX11" fmla="*/ 1753709 w 1902290"/>
              <a:gd name="connsiteY11" fmla="*/ 10773 h 1358913"/>
              <a:gd name="connsiteX12" fmla="*/ 1867619 w 1902290"/>
              <a:gd name="connsiteY12" fmla="*/ 12986 h 1358913"/>
              <a:gd name="connsiteX0" fmla="*/ 1867619 w 1902290"/>
              <a:gd name="connsiteY0" fmla="*/ 12986 h 1360761"/>
              <a:gd name="connsiteX1" fmla="*/ 1902004 w 1902290"/>
              <a:gd name="connsiteY1" fmla="*/ 135905 h 1360761"/>
              <a:gd name="connsiteX2" fmla="*/ 1902004 w 1902290"/>
              <a:gd name="connsiteY2" fmla="*/ 854747 h 1360761"/>
              <a:gd name="connsiteX3" fmla="*/ 1879774 w 1902290"/>
              <a:gd name="connsiteY3" fmla="*/ 975991 h 1360761"/>
              <a:gd name="connsiteX4" fmla="*/ 1753709 w 1902290"/>
              <a:gd name="connsiteY4" fmla="*/ 1037386 h 1360761"/>
              <a:gd name="connsiteX5" fmla="*/ 149096 w 1902290"/>
              <a:gd name="connsiteY5" fmla="*/ 1349418 h 1360761"/>
              <a:gd name="connsiteX6" fmla="*/ 34183 w 1902290"/>
              <a:gd name="connsiteY6" fmla="*/ 1347594 h 1360761"/>
              <a:gd name="connsiteX7" fmla="*/ 0 w 1902290"/>
              <a:gd name="connsiteY7" fmla="*/ 1224552 h 1360761"/>
              <a:gd name="connsiteX8" fmla="*/ 0 w 1902290"/>
              <a:gd name="connsiteY8" fmla="*/ 505710 h 1360761"/>
              <a:gd name="connsiteX9" fmla="*/ 31648 w 1902290"/>
              <a:gd name="connsiteY9" fmla="*/ 371602 h 1360761"/>
              <a:gd name="connsiteX10" fmla="*/ 148295 w 1902290"/>
              <a:gd name="connsiteY10" fmla="*/ 323071 h 1360761"/>
              <a:gd name="connsiteX11" fmla="*/ 1753709 w 1902290"/>
              <a:gd name="connsiteY11" fmla="*/ 10773 h 1360761"/>
              <a:gd name="connsiteX12" fmla="*/ 1867619 w 1902290"/>
              <a:gd name="connsiteY12" fmla="*/ 12986 h 1360761"/>
              <a:gd name="connsiteX0" fmla="*/ 1867619 w 1902290"/>
              <a:gd name="connsiteY0" fmla="*/ 12986 h 1360761"/>
              <a:gd name="connsiteX1" fmla="*/ 1902004 w 1902290"/>
              <a:gd name="connsiteY1" fmla="*/ 135905 h 1360761"/>
              <a:gd name="connsiteX2" fmla="*/ 1902004 w 1902290"/>
              <a:gd name="connsiteY2" fmla="*/ 854747 h 1360761"/>
              <a:gd name="connsiteX3" fmla="*/ 1879774 w 1902290"/>
              <a:gd name="connsiteY3" fmla="*/ 975991 h 1360761"/>
              <a:gd name="connsiteX4" fmla="*/ 1753709 w 1902290"/>
              <a:gd name="connsiteY4" fmla="*/ 1037386 h 1360761"/>
              <a:gd name="connsiteX5" fmla="*/ 149096 w 1902290"/>
              <a:gd name="connsiteY5" fmla="*/ 1349418 h 1360761"/>
              <a:gd name="connsiteX6" fmla="*/ 34183 w 1902290"/>
              <a:gd name="connsiteY6" fmla="*/ 1347594 h 1360761"/>
              <a:gd name="connsiteX7" fmla="*/ 0 w 1902290"/>
              <a:gd name="connsiteY7" fmla="*/ 1224552 h 1360761"/>
              <a:gd name="connsiteX8" fmla="*/ 0 w 1902290"/>
              <a:gd name="connsiteY8" fmla="*/ 505710 h 1360761"/>
              <a:gd name="connsiteX9" fmla="*/ 31648 w 1902290"/>
              <a:gd name="connsiteY9" fmla="*/ 371602 h 1360761"/>
              <a:gd name="connsiteX10" fmla="*/ 148295 w 1902290"/>
              <a:gd name="connsiteY10" fmla="*/ 323071 h 1360761"/>
              <a:gd name="connsiteX11" fmla="*/ 1753709 w 1902290"/>
              <a:gd name="connsiteY11" fmla="*/ 10773 h 1360761"/>
              <a:gd name="connsiteX12" fmla="*/ 1867619 w 1902290"/>
              <a:gd name="connsiteY12" fmla="*/ 12986 h 1360761"/>
              <a:gd name="connsiteX0" fmla="*/ 1867619 w 1902290"/>
              <a:gd name="connsiteY0" fmla="*/ 12986 h 1360761"/>
              <a:gd name="connsiteX1" fmla="*/ 1902004 w 1902290"/>
              <a:gd name="connsiteY1" fmla="*/ 135905 h 1360761"/>
              <a:gd name="connsiteX2" fmla="*/ 1902004 w 1902290"/>
              <a:gd name="connsiteY2" fmla="*/ 854747 h 1360761"/>
              <a:gd name="connsiteX3" fmla="*/ 1879774 w 1902290"/>
              <a:gd name="connsiteY3" fmla="*/ 975991 h 1360761"/>
              <a:gd name="connsiteX4" fmla="*/ 1753709 w 1902290"/>
              <a:gd name="connsiteY4" fmla="*/ 1037386 h 1360761"/>
              <a:gd name="connsiteX5" fmla="*/ 149096 w 1902290"/>
              <a:gd name="connsiteY5" fmla="*/ 1349418 h 1360761"/>
              <a:gd name="connsiteX6" fmla="*/ 34183 w 1902290"/>
              <a:gd name="connsiteY6" fmla="*/ 1347594 h 1360761"/>
              <a:gd name="connsiteX7" fmla="*/ 0 w 1902290"/>
              <a:gd name="connsiteY7" fmla="*/ 1224552 h 1360761"/>
              <a:gd name="connsiteX8" fmla="*/ 0 w 1902290"/>
              <a:gd name="connsiteY8" fmla="*/ 505710 h 1360761"/>
              <a:gd name="connsiteX9" fmla="*/ 31648 w 1902290"/>
              <a:gd name="connsiteY9" fmla="*/ 371602 h 1360761"/>
              <a:gd name="connsiteX10" fmla="*/ 155326 w 1902290"/>
              <a:gd name="connsiteY10" fmla="*/ 319555 h 1360761"/>
              <a:gd name="connsiteX11" fmla="*/ 1753709 w 1902290"/>
              <a:gd name="connsiteY11" fmla="*/ 10773 h 1360761"/>
              <a:gd name="connsiteX12" fmla="*/ 1867619 w 1902290"/>
              <a:gd name="connsiteY12" fmla="*/ 12986 h 1360761"/>
              <a:gd name="connsiteX0" fmla="*/ 1867619 w 1902290"/>
              <a:gd name="connsiteY0" fmla="*/ 12986 h 1360761"/>
              <a:gd name="connsiteX1" fmla="*/ 1902004 w 1902290"/>
              <a:gd name="connsiteY1" fmla="*/ 135905 h 1360761"/>
              <a:gd name="connsiteX2" fmla="*/ 1902004 w 1902290"/>
              <a:gd name="connsiteY2" fmla="*/ 854747 h 1360761"/>
              <a:gd name="connsiteX3" fmla="*/ 1879774 w 1902290"/>
              <a:gd name="connsiteY3" fmla="*/ 975991 h 1360761"/>
              <a:gd name="connsiteX4" fmla="*/ 1753709 w 1902290"/>
              <a:gd name="connsiteY4" fmla="*/ 1037386 h 1360761"/>
              <a:gd name="connsiteX5" fmla="*/ 149096 w 1902290"/>
              <a:gd name="connsiteY5" fmla="*/ 1349418 h 1360761"/>
              <a:gd name="connsiteX6" fmla="*/ 34183 w 1902290"/>
              <a:gd name="connsiteY6" fmla="*/ 1347594 h 1360761"/>
              <a:gd name="connsiteX7" fmla="*/ 0 w 1902290"/>
              <a:gd name="connsiteY7" fmla="*/ 1224552 h 1360761"/>
              <a:gd name="connsiteX8" fmla="*/ 0 w 1902290"/>
              <a:gd name="connsiteY8" fmla="*/ 505710 h 1360761"/>
              <a:gd name="connsiteX9" fmla="*/ 31648 w 1902290"/>
              <a:gd name="connsiteY9" fmla="*/ 371602 h 1360761"/>
              <a:gd name="connsiteX10" fmla="*/ 155326 w 1902290"/>
              <a:gd name="connsiteY10" fmla="*/ 319555 h 1360761"/>
              <a:gd name="connsiteX11" fmla="*/ 1753709 w 1902290"/>
              <a:gd name="connsiteY11" fmla="*/ 10773 h 1360761"/>
              <a:gd name="connsiteX12" fmla="*/ 1867619 w 1902290"/>
              <a:gd name="connsiteY12" fmla="*/ 12986 h 1360761"/>
              <a:gd name="connsiteX0" fmla="*/ 1867619 w 1902290"/>
              <a:gd name="connsiteY0" fmla="*/ 12986 h 1360761"/>
              <a:gd name="connsiteX1" fmla="*/ 1902004 w 1902290"/>
              <a:gd name="connsiteY1" fmla="*/ 135905 h 1360761"/>
              <a:gd name="connsiteX2" fmla="*/ 1902004 w 1902290"/>
              <a:gd name="connsiteY2" fmla="*/ 854747 h 1360761"/>
              <a:gd name="connsiteX3" fmla="*/ 1879774 w 1902290"/>
              <a:gd name="connsiteY3" fmla="*/ 975991 h 1360761"/>
              <a:gd name="connsiteX4" fmla="*/ 1753709 w 1902290"/>
              <a:gd name="connsiteY4" fmla="*/ 1037386 h 1360761"/>
              <a:gd name="connsiteX5" fmla="*/ 149096 w 1902290"/>
              <a:gd name="connsiteY5" fmla="*/ 1349418 h 1360761"/>
              <a:gd name="connsiteX6" fmla="*/ 34183 w 1902290"/>
              <a:gd name="connsiteY6" fmla="*/ 1347594 h 1360761"/>
              <a:gd name="connsiteX7" fmla="*/ 0 w 1902290"/>
              <a:gd name="connsiteY7" fmla="*/ 1224552 h 1360761"/>
              <a:gd name="connsiteX8" fmla="*/ 0 w 1902290"/>
              <a:gd name="connsiteY8" fmla="*/ 505710 h 1360761"/>
              <a:gd name="connsiteX9" fmla="*/ 31648 w 1902290"/>
              <a:gd name="connsiteY9" fmla="*/ 371602 h 1360761"/>
              <a:gd name="connsiteX10" fmla="*/ 155326 w 1902290"/>
              <a:gd name="connsiteY10" fmla="*/ 319555 h 1360761"/>
              <a:gd name="connsiteX11" fmla="*/ 1753709 w 1902290"/>
              <a:gd name="connsiteY11" fmla="*/ 10773 h 1360761"/>
              <a:gd name="connsiteX12" fmla="*/ 1867619 w 1902290"/>
              <a:gd name="connsiteY12" fmla="*/ 12986 h 1360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2290" h="1360761">
                <a:moveTo>
                  <a:pt x="1867619" y="12986"/>
                </a:moveTo>
                <a:cubicBezTo>
                  <a:pt x="1905082" y="38138"/>
                  <a:pt x="1902668" y="77924"/>
                  <a:pt x="1902004" y="135905"/>
                </a:cubicBezTo>
                <a:lnTo>
                  <a:pt x="1902004" y="854747"/>
                </a:lnTo>
                <a:cubicBezTo>
                  <a:pt x="1902627" y="907312"/>
                  <a:pt x="1901317" y="946976"/>
                  <a:pt x="1879774" y="975991"/>
                </a:cubicBezTo>
                <a:cubicBezTo>
                  <a:pt x="1849087" y="1017321"/>
                  <a:pt x="1823646" y="1024002"/>
                  <a:pt x="1753709" y="1037386"/>
                </a:cubicBezTo>
                <a:lnTo>
                  <a:pt x="149096" y="1349418"/>
                </a:lnTo>
                <a:cubicBezTo>
                  <a:pt x="112072" y="1358514"/>
                  <a:pt x="61662" y="1370426"/>
                  <a:pt x="34183" y="1347594"/>
                </a:cubicBezTo>
                <a:cubicBezTo>
                  <a:pt x="2177" y="1321001"/>
                  <a:pt x="37" y="1293594"/>
                  <a:pt x="0" y="1224552"/>
                </a:cubicBezTo>
                <a:lnTo>
                  <a:pt x="0" y="505710"/>
                </a:lnTo>
                <a:cubicBezTo>
                  <a:pt x="405" y="458533"/>
                  <a:pt x="5760" y="402628"/>
                  <a:pt x="31648" y="371602"/>
                </a:cubicBezTo>
                <a:cubicBezTo>
                  <a:pt x="57536" y="340576"/>
                  <a:pt x="103964" y="329501"/>
                  <a:pt x="155326" y="319555"/>
                </a:cubicBezTo>
                <a:lnTo>
                  <a:pt x="1753709" y="10773"/>
                </a:lnTo>
                <a:cubicBezTo>
                  <a:pt x="1812984" y="-504"/>
                  <a:pt x="1837468" y="-7257"/>
                  <a:pt x="1867619" y="12986"/>
                </a:cubicBezTo>
                <a:close/>
              </a:path>
            </a:pathLst>
          </a:custGeom>
          <a:gradFill>
            <a:gsLst>
              <a:gs pos="50000">
                <a:schemeClr val="accent4"/>
              </a:gs>
              <a:gs pos="0">
                <a:schemeClr val="tx1"/>
              </a:gs>
              <a:gs pos="100000">
                <a:schemeClr val="accent5"/>
              </a:gs>
            </a:gsLst>
            <a:lin ang="0" scaled="0"/>
          </a:gradFill>
        </p:spPr>
        <p:txBody>
          <a:bodyPr wrap="square" lIns="216000" tIns="576000" rIns="144000" bIns="360000" anchor="t" anchorCtr="0">
            <a:normAutofit/>
          </a:bodyPr>
          <a:lstStyle>
            <a:lvl1pPr algn="l">
              <a:lnSpc>
                <a:spcPct val="90000"/>
              </a:lnSpc>
              <a:defRPr sz="14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Edit the titl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F8C2B7F-F2FC-47A0-9BB8-7750509552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4253EC9-D4C3-40CA-B15D-1F267382B6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59AEE3-C1A1-413F-B50E-63099F9710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2426" y="2752725"/>
            <a:ext cx="8440738" cy="16287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80558111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option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G logo SVG 2023">
            <a:extLst>
              <a:ext uri="{FF2B5EF4-FFF2-40B4-BE49-F238E27FC236}">
                <a16:creationId xmlns:a16="http://schemas.microsoft.com/office/drawing/2014/main" id="{93787541-3C9D-9126-F3C9-AF47AEB3B0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420" y="4305031"/>
            <a:ext cx="1286184" cy="536160"/>
          </a:xfrm>
          <a:prstGeom prst="rect">
            <a:avLst/>
          </a:prstGeom>
        </p:spPr>
      </p:pic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1F53389F-46BF-7D77-78CF-351EEFF63C94}"/>
              </a:ext>
            </a:extLst>
          </p:cNvPr>
          <p:cNvCxnSpPr/>
          <p:nvPr userDrawn="1"/>
        </p:nvCxnSpPr>
        <p:spPr>
          <a:xfrm flipV="1">
            <a:off x="7346950" y="4297680"/>
            <a:ext cx="0" cy="53752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raphique 6">
            <a:extLst>
              <a:ext uri="{FF2B5EF4-FFF2-40B4-BE49-F238E27FC236}">
                <a16:creationId xmlns:a16="http://schemas.microsoft.com/office/drawing/2014/main" id="{117F18D9-7169-55DB-3006-B4147FF43429}"/>
              </a:ext>
            </a:extLst>
          </p:cNvPr>
          <p:cNvSpPr/>
          <p:nvPr userDrawn="1"/>
        </p:nvSpPr>
        <p:spPr>
          <a:xfrm>
            <a:off x="5295418" y="835541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gradFill>
            <a:gsLst>
              <a:gs pos="0">
                <a:schemeClr val="tx1"/>
              </a:gs>
              <a:gs pos="50000">
                <a:schemeClr val="accent2"/>
              </a:gs>
              <a:gs pos="100000">
                <a:schemeClr val="accent1"/>
              </a:gs>
            </a:gsLst>
            <a:lin ang="0" scaled="0"/>
          </a:gra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fr-FR" dirty="0">
              <a:noFill/>
            </a:endParaRPr>
          </a:p>
        </p:txBody>
      </p:sp>
      <p:sp>
        <p:nvSpPr>
          <p:cNvPr id="16" name="Graphique 6">
            <a:extLst>
              <a:ext uri="{FF2B5EF4-FFF2-40B4-BE49-F238E27FC236}">
                <a16:creationId xmlns:a16="http://schemas.microsoft.com/office/drawing/2014/main" id="{6044488E-D58E-DAFE-5D56-A48E24CFE378}"/>
              </a:ext>
            </a:extLst>
          </p:cNvPr>
          <p:cNvSpPr/>
          <p:nvPr userDrawn="1"/>
        </p:nvSpPr>
        <p:spPr>
          <a:xfrm>
            <a:off x="4994476" y="604047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solidFill>
            <a:srgbClr val="FFFFFF"/>
          </a:soli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17" name="Titre 7">
            <a:extLst>
              <a:ext uri="{FF2B5EF4-FFF2-40B4-BE49-F238E27FC236}">
                <a16:creationId xmlns:a16="http://schemas.microsoft.com/office/drawing/2014/main" id="{FB1DE035-D89E-7AA3-F692-138197E53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418" y="1525027"/>
            <a:ext cx="2974693" cy="615553"/>
          </a:xfrm>
        </p:spPr>
        <p:txBody>
          <a:bodyPr anchor="b"/>
          <a:lstStyle>
            <a:lvl1pPr>
              <a:defRPr sz="2000">
                <a:gradFill>
                  <a:gsLst>
                    <a:gs pos="0">
                      <a:schemeClr val="tx1"/>
                    </a:gs>
                    <a:gs pos="5000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A69CDE66-5C50-3B40-A54F-BFF0C31C5E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95418" y="2255640"/>
            <a:ext cx="2974693" cy="956952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012660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28">
            <a:extLst>
              <a:ext uri="{FF2B5EF4-FFF2-40B4-BE49-F238E27FC236}">
                <a16:creationId xmlns:a16="http://schemas.microsoft.com/office/drawing/2014/main" id="{54FD48B1-E271-4A05-86BC-F52DF331290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3479610" y="1311275"/>
            <a:ext cx="2387790" cy="3070225"/>
          </a:xfrm>
          <a:prstGeom prst="roundRect">
            <a:avLst>
              <a:gd name="adj" fmla="val 4987"/>
            </a:avLst>
          </a:prstGeom>
          <a:gradFill>
            <a:gsLst>
              <a:gs pos="100000">
                <a:schemeClr val="accent1"/>
              </a:gs>
              <a:gs pos="0">
                <a:schemeClr val="bg2"/>
              </a:gs>
            </a:gsLst>
            <a:lin ang="0" scaled="0"/>
          </a:gradFill>
        </p:spPr>
        <p:txBody>
          <a:bodyPr vert="horz" wrap="square" lIns="72000" tIns="1548000" rIns="91440" bIns="360000" rtlCol="0">
            <a:normAutofit lnSpcReduction="10000"/>
          </a:bodyPr>
          <a:lstStyle>
            <a:lvl1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noProof="0" dirty="0">
                <a:solidFill>
                  <a:schemeClr val="bg1"/>
                </a:solidFill>
              </a:defRPr>
            </a:lvl3pPr>
          </a:lstStyle>
          <a:p>
            <a:pPr lvl="0">
              <a:lnSpc>
                <a:spcPct val="100000"/>
              </a:lnSpc>
              <a:buClr>
                <a:schemeClr val="bg1"/>
              </a:buClr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r>
              <a:rPr lang="en-US" noProof="0" dirty="0"/>
              <a:t> </a:t>
            </a:r>
          </a:p>
        </p:txBody>
      </p:sp>
      <p:sp>
        <p:nvSpPr>
          <p:cNvPr id="22" name="Espace réservé du texte 28">
            <a:extLst>
              <a:ext uri="{FF2B5EF4-FFF2-40B4-BE49-F238E27FC236}">
                <a16:creationId xmlns:a16="http://schemas.microsoft.com/office/drawing/2014/main" id="{A797F598-BF66-43EB-941E-85AAB3C1E3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402388" y="1311275"/>
            <a:ext cx="2387790" cy="3070225"/>
          </a:xfrm>
          <a:prstGeom prst="roundRect">
            <a:avLst>
              <a:gd name="adj" fmla="val 4987"/>
            </a:avLst>
          </a:prstGeom>
          <a:gradFill>
            <a:gsLst>
              <a:gs pos="100000">
                <a:schemeClr val="accent1"/>
              </a:gs>
              <a:gs pos="0">
                <a:schemeClr val="bg2"/>
              </a:gs>
            </a:gsLst>
            <a:lin ang="0" scaled="0"/>
          </a:gradFill>
        </p:spPr>
        <p:txBody>
          <a:bodyPr vert="horz" wrap="square" lIns="72000" tIns="1548000" rIns="91440" bIns="360000" rtlCol="0">
            <a:normAutofit lnSpcReduction="10000"/>
          </a:bodyPr>
          <a:lstStyle>
            <a:lvl1pPr>
              <a:buClr>
                <a:schemeClr val="bg1"/>
              </a:buClr>
              <a:defRPr lang="en-US" noProof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noProof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noProof="0">
                <a:solidFill>
                  <a:schemeClr val="bg1"/>
                </a:solidFill>
              </a:defRPr>
            </a:lvl3pPr>
          </a:lstStyle>
          <a:p>
            <a:pPr lvl="0">
              <a:lnSpc>
                <a:spcPct val="100000"/>
              </a:lnSpc>
              <a:buClr>
                <a:schemeClr val="bg1"/>
              </a:buClr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r>
              <a:rPr lang="en-US" noProof="0" dirty="0"/>
              <a:t>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276A1C73-504F-4EFB-B472-CAF848314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1547431F-7128-4125-8C02-E7235B35E5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000" y="654998"/>
            <a:ext cx="7977654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38475BF4-C7D2-42EE-8247-D9E73989D65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1188" y="1311275"/>
            <a:ext cx="2387790" cy="3070225"/>
          </a:xfrm>
          <a:prstGeom prst="roundRect">
            <a:avLst>
              <a:gd name="adj" fmla="val 4987"/>
            </a:avLst>
          </a:prstGeom>
          <a:gradFill>
            <a:gsLst>
              <a:gs pos="100000">
                <a:schemeClr val="accent1"/>
              </a:gs>
              <a:gs pos="0">
                <a:schemeClr val="bg2"/>
              </a:gs>
            </a:gsLst>
            <a:lin ang="0" scaled="0"/>
          </a:gradFill>
        </p:spPr>
        <p:txBody>
          <a:bodyPr vert="horz" wrap="square" lIns="72000" tIns="1548000" rIns="91440" bIns="360000" rtlCol="0">
            <a:normAutofit lnSpcReduction="10000"/>
          </a:bodyPr>
          <a:lstStyle>
            <a:lvl1pPr marL="180975" indent="-180975"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dirty="0">
                <a:solidFill>
                  <a:schemeClr val="bg1"/>
                </a:solidFill>
              </a:defRPr>
            </a:lvl3pPr>
          </a:lstStyle>
          <a:p>
            <a:pPr marL="180975" marR="0" lvl="0" indent="-1809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●"/>
              <a:tabLst/>
            </a:pPr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>
              <a:buClr>
                <a:schemeClr val="bg1"/>
              </a:buClr>
            </a:pPr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>
              <a:buClr>
                <a:schemeClr val="bg1"/>
              </a:buClr>
            </a:pPr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r>
              <a:rPr lang="en-US" noProof="0" dirty="0"/>
              <a:t> 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9E37E46B-A015-4F6F-A43F-B4499A62F2D3}"/>
              </a:ext>
            </a:extLst>
          </p:cNvPr>
          <p:cNvSpPr txBox="1"/>
          <p:nvPr userDrawn="1"/>
        </p:nvSpPr>
        <p:spPr>
          <a:xfrm>
            <a:off x="-2300564" y="494385"/>
            <a:ext cx="2100583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mage displayed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e image displayed</a:t>
            </a: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Pictures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con</a:t>
            </a:r>
            <a:endParaRPr lang="en-US" sz="90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90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a new image</a:t>
            </a:r>
            <a:r>
              <a:rPr lang="en-US" sz="9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6213">
              <a:spcBef>
                <a:spcPts val="200"/>
              </a:spcBef>
              <a:buAutoNum type="arabicPeriod"/>
              <a:tabLst/>
            </a:pPr>
            <a:endParaRPr lang="en-US" sz="900" b="1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00"/>
              </a:spcBef>
              <a:buNone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900" b="1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ze an image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mage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 Format tab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Crop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ping handles will appear. Click, hold and drag a handle to crop the image.</a:t>
            </a:r>
          </a:p>
          <a:p>
            <a:pPr marL="228600" indent="-228600">
              <a:spcBef>
                <a:spcPts val="200"/>
              </a:spcBef>
              <a:buFont typeface="+mj-lt"/>
              <a:buAutoNum type="arabicPeriod"/>
            </a:pP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the image by clicking, holding and dragging it to the centre of the box. </a:t>
            </a:r>
          </a:p>
          <a:p>
            <a:pPr marL="0" indent="0">
              <a:spcBef>
                <a:spcPts val="200"/>
              </a:spcBef>
              <a:buFont typeface="+mj-lt"/>
              <a:buNone/>
            </a:pPr>
            <a:r>
              <a:rPr lang="en-US" sz="900" u="sng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B.</a:t>
            </a:r>
            <a:r>
              <a:rPr lang="en-US" sz="900" baseline="0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rop the image proportionally, hold the Shift key while you resize the image.</a:t>
            </a:r>
          </a:p>
          <a:p>
            <a:pPr marL="0" indent="0">
              <a:spcBef>
                <a:spcPts val="200"/>
              </a:spcBef>
              <a:buNone/>
            </a:pPr>
            <a:endParaRPr lang="en-US" sz="90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oupe 51">
            <a:extLst>
              <a:ext uri="{FF2B5EF4-FFF2-40B4-BE49-F238E27FC236}">
                <a16:creationId xmlns:a16="http://schemas.microsoft.com/office/drawing/2014/main" id="{242550B6-20BF-4B7D-BE86-A57608874007}"/>
              </a:ext>
            </a:extLst>
          </p:cNvPr>
          <p:cNvGrpSpPr/>
          <p:nvPr userDrawn="1"/>
        </p:nvGrpSpPr>
        <p:grpSpPr>
          <a:xfrm>
            <a:off x="-252536" y="581025"/>
            <a:ext cx="144016" cy="4562475"/>
            <a:chOff x="-252536" y="-197952"/>
            <a:chExt cx="144016" cy="4562475"/>
          </a:xfrm>
        </p:grpSpPr>
        <p:cxnSp>
          <p:nvCxnSpPr>
            <p:cNvPr id="53" name="Connecteur droit 52">
              <a:extLst>
                <a:ext uri="{FF2B5EF4-FFF2-40B4-BE49-F238E27FC236}">
                  <a16:creationId xmlns:a16="http://schemas.microsoft.com/office/drawing/2014/main" id="{FF09EC4E-BAB6-4850-B996-1B078D0961FE}"/>
                </a:ext>
              </a:extLst>
            </p:cNvPr>
            <p:cNvCxnSpPr/>
            <p:nvPr userDrawn="1"/>
          </p:nvCxnSpPr>
          <p:spPr>
            <a:xfrm>
              <a:off x="-252536" y="-197952"/>
              <a:ext cx="0" cy="45624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eur droit 53">
              <a:extLst>
                <a:ext uri="{FF2B5EF4-FFF2-40B4-BE49-F238E27FC236}">
                  <a16:creationId xmlns:a16="http://schemas.microsoft.com/office/drawing/2014/main" id="{5DACF023-ED39-4B11-8FE6-9748A415CB15}"/>
                </a:ext>
              </a:extLst>
            </p:cNvPr>
            <p:cNvCxnSpPr/>
            <p:nvPr userDrawn="1"/>
          </p:nvCxnSpPr>
          <p:spPr>
            <a:xfrm flipH="1">
              <a:off x="-252536" y="1221344"/>
              <a:ext cx="144016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195E1888-A9FE-4984-8EEC-E22E24E925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54998" y="2027187"/>
            <a:ext cx="308933" cy="49200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7" name="Espace réservé pour une image  29">
            <a:extLst>
              <a:ext uri="{FF2B5EF4-FFF2-40B4-BE49-F238E27FC236}">
                <a16:creationId xmlns:a16="http://schemas.microsoft.com/office/drawing/2014/main" id="{69801787-38DD-4ED7-B861-403F9CF85AF3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60000" y="1076325"/>
            <a:ext cx="1648661" cy="1689092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18" name="Espace réservé pour une image  29">
            <a:extLst>
              <a:ext uri="{FF2B5EF4-FFF2-40B4-BE49-F238E27FC236}">
                <a16:creationId xmlns:a16="http://schemas.microsoft.com/office/drawing/2014/main" id="{A49AC33C-E4B0-4303-92FA-0D9D8D95A94E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265106" y="1076325"/>
            <a:ext cx="1648661" cy="1689092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0" name="Espace réservé pour une image  29">
            <a:extLst>
              <a:ext uri="{FF2B5EF4-FFF2-40B4-BE49-F238E27FC236}">
                <a16:creationId xmlns:a16="http://schemas.microsoft.com/office/drawing/2014/main" id="{251D12BC-8C62-4097-88A1-171B65505E9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164041" y="1076325"/>
            <a:ext cx="1648661" cy="1689092"/>
          </a:xfrm>
          <a:prstGeom prst="roundRect">
            <a:avLst>
              <a:gd name="adj" fmla="val 6817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22F97674-C46D-47D1-ABD4-EBFAFD371D7B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0B1FBD3-72F2-449D-9288-9B8466EB8D6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842811412"/>
      </p:ext>
    </p:extLst>
  </p:cSld>
  <p:clrMapOvr>
    <a:masterClrMapping/>
  </p:clrMapOvr>
  <p:transition spd="slow">
    <p:wip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A9A2261-CD61-4E18-87BF-4C6EFE54DB6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8168" y="1201537"/>
            <a:ext cx="1971076" cy="3284874"/>
          </a:xfrm>
          <a:custGeom>
            <a:avLst/>
            <a:gdLst>
              <a:gd name="connsiteX0" fmla="*/ 1915455 w 1971076"/>
              <a:gd name="connsiteY0" fmla="*/ 117 h 3284874"/>
              <a:gd name="connsiteX1" fmla="*/ 1970955 w 1971076"/>
              <a:gd name="connsiteY1" fmla="*/ 63140 h 3284874"/>
              <a:gd name="connsiteX2" fmla="*/ 1970955 w 1971076"/>
              <a:gd name="connsiteY2" fmla="*/ 2838540 h 3284874"/>
              <a:gd name="connsiteX3" fmla="*/ 1898096 w 1971076"/>
              <a:gd name="connsiteY3" fmla="*/ 2928521 h 3284874"/>
              <a:gd name="connsiteX4" fmla="*/ 72967 w 1971076"/>
              <a:gd name="connsiteY4" fmla="*/ 3283346 h 3284874"/>
              <a:gd name="connsiteX5" fmla="*/ 56027 w 1971076"/>
              <a:gd name="connsiteY5" fmla="*/ 3284767 h 3284874"/>
              <a:gd name="connsiteX6" fmla="*/ 107 w 1971076"/>
              <a:gd name="connsiteY6" fmla="*/ 3221780 h 3284874"/>
              <a:gd name="connsiteX7" fmla="*/ 107 w 1971076"/>
              <a:gd name="connsiteY7" fmla="*/ 446198 h 3284874"/>
              <a:gd name="connsiteX8" fmla="*/ 72967 w 1971076"/>
              <a:gd name="connsiteY8" fmla="*/ 356217 h 3284874"/>
              <a:gd name="connsiteX9" fmla="*/ 1898096 w 1971076"/>
              <a:gd name="connsiteY9" fmla="*/ 1574 h 3284874"/>
              <a:gd name="connsiteX10" fmla="*/ 1915455 w 1971076"/>
              <a:gd name="connsiteY10" fmla="*/ 117 h 3284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71076" h="3284874">
                <a:moveTo>
                  <a:pt x="1915455" y="117"/>
                </a:moveTo>
                <a:cubicBezTo>
                  <a:pt x="1948187" y="2193"/>
                  <a:pt x="1973032" y="30408"/>
                  <a:pt x="1970955" y="63140"/>
                </a:cubicBezTo>
                <a:lnTo>
                  <a:pt x="1970955" y="2838540"/>
                </a:lnTo>
                <a:cubicBezTo>
                  <a:pt x="1969954" y="2881618"/>
                  <a:pt x="1940027" y="2918594"/>
                  <a:pt x="1898096" y="2928521"/>
                </a:cubicBezTo>
                <a:lnTo>
                  <a:pt x="72967" y="3283346"/>
                </a:lnTo>
                <a:cubicBezTo>
                  <a:pt x="67411" y="3284622"/>
                  <a:pt x="61710" y="3285113"/>
                  <a:pt x="56027" y="3284767"/>
                </a:cubicBezTo>
                <a:cubicBezTo>
                  <a:pt x="23204" y="3282818"/>
                  <a:pt x="-1842" y="3254621"/>
                  <a:pt x="107" y="3221780"/>
                </a:cubicBezTo>
                <a:lnTo>
                  <a:pt x="107" y="446198"/>
                </a:lnTo>
                <a:cubicBezTo>
                  <a:pt x="1036" y="403102"/>
                  <a:pt x="31000" y="366090"/>
                  <a:pt x="72967" y="356217"/>
                </a:cubicBezTo>
                <a:lnTo>
                  <a:pt x="1898096" y="1574"/>
                </a:lnTo>
                <a:cubicBezTo>
                  <a:pt x="1903779" y="244"/>
                  <a:pt x="1909626" y="-248"/>
                  <a:pt x="1915455" y="117"/>
                </a:cubicBez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bg2"/>
              </a:gs>
            </a:gsLst>
            <a:lin ang="0" scaled="0"/>
          </a:gradFill>
        </p:spPr>
        <p:txBody>
          <a:bodyPr wrap="square" lIns="108000" tIns="900000">
            <a:normAutofit/>
          </a:bodyPr>
          <a:lstStyle>
            <a:lvl1pPr marL="0" indent="0">
              <a:buClr>
                <a:schemeClr val="bg1"/>
              </a:buClr>
              <a:buNone/>
              <a:defRPr sz="1200" b="1" cap="all" baseline="0">
                <a:solidFill>
                  <a:schemeClr val="bg1"/>
                </a:solidFill>
              </a:defRPr>
            </a:lvl1pPr>
            <a:lvl2pPr marL="177800" indent="-177800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 marL="539750" indent="-139700">
              <a:buClr>
                <a:schemeClr val="bg1"/>
              </a:buClr>
              <a:defRPr sz="105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/>
            </a:lvl4pPr>
            <a:lvl5pPr marL="245700" indent="0">
              <a:buNone/>
              <a:defRPr/>
            </a:lvl5pPr>
          </a:lstStyle>
          <a:p>
            <a:pPr lvl="0"/>
            <a:r>
              <a:rPr lang="en-US" noProof="0" dirty="0" err="1"/>
              <a:t>Cliquez</a:t>
            </a:r>
            <a:r>
              <a:rPr lang="en-US" noProof="0" dirty="0"/>
              <a:t> pour 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9B3370EE-5935-423E-A4FE-6E7645524E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000" y="654998"/>
            <a:ext cx="7977654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C6D9CD2-0E63-4284-AB20-F93219E367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0D7FB8A0-2197-49BF-9275-5B1771095D7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08438" y="1201537"/>
            <a:ext cx="1971076" cy="3284874"/>
          </a:xfrm>
          <a:custGeom>
            <a:avLst/>
            <a:gdLst>
              <a:gd name="connsiteX0" fmla="*/ 1915455 w 1971076"/>
              <a:gd name="connsiteY0" fmla="*/ 117 h 3284874"/>
              <a:gd name="connsiteX1" fmla="*/ 1970955 w 1971076"/>
              <a:gd name="connsiteY1" fmla="*/ 63140 h 3284874"/>
              <a:gd name="connsiteX2" fmla="*/ 1970955 w 1971076"/>
              <a:gd name="connsiteY2" fmla="*/ 2838540 h 3284874"/>
              <a:gd name="connsiteX3" fmla="*/ 1898096 w 1971076"/>
              <a:gd name="connsiteY3" fmla="*/ 2928521 h 3284874"/>
              <a:gd name="connsiteX4" fmla="*/ 72967 w 1971076"/>
              <a:gd name="connsiteY4" fmla="*/ 3283346 h 3284874"/>
              <a:gd name="connsiteX5" fmla="*/ 56027 w 1971076"/>
              <a:gd name="connsiteY5" fmla="*/ 3284767 h 3284874"/>
              <a:gd name="connsiteX6" fmla="*/ 107 w 1971076"/>
              <a:gd name="connsiteY6" fmla="*/ 3221780 h 3284874"/>
              <a:gd name="connsiteX7" fmla="*/ 107 w 1971076"/>
              <a:gd name="connsiteY7" fmla="*/ 446198 h 3284874"/>
              <a:gd name="connsiteX8" fmla="*/ 72967 w 1971076"/>
              <a:gd name="connsiteY8" fmla="*/ 356217 h 3284874"/>
              <a:gd name="connsiteX9" fmla="*/ 1898096 w 1971076"/>
              <a:gd name="connsiteY9" fmla="*/ 1574 h 3284874"/>
              <a:gd name="connsiteX10" fmla="*/ 1915455 w 1971076"/>
              <a:gd name="connsiteY10" fmla="*/ 117 h 3284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71076" h="3284874">
                <a:moveTo>
                  <a:pt x="1915455" y="117"/>
                </a:moveTo>
                <a:cubicBezTo>
                  <a:pt x="1948187" y="2193"/>
                  <a:pt x="1973032" y="30408"/>
                  <a:pt x="1970955" y="63140"/>
                </a:cubicBezTo>
                <a:lnTo>
                  <a:pt x="1970955" y="2838540"/>
                </a:lnTo>
                <a:cubicBezTo>
                  <a:pt x="1969954" y="2881618"/>
                  <a:pt x="1940027" y="2918594"/>
                  <a:pt x="1898096" y="2928521"/>
                </a:cubicBezTo>
                <a:lnTo>
                  <a:pt x="72967" y="3283346"/>
                </a:lnTo>
                <a:cubicBezTo>
                  <a:pt x="67411" y="3284622"/>
                  <a:pt x="61710" y="3285113"/>
                  <a:pt x="56027" y="3284767"/>
                </a:cubicBezTo>
                <a:cubicBezTo>
                  <a:pt x="23204" y="3282818"/>
                  <a:pt x="-1842" y="3254621"/>
                  <a:pt x="107" y="3221780"/>
                </a:cubicBezTo>
                <a:lnTo>
                  <a:pt x="107" y="446198"/>
                </a:lnTo>
                <a:cubicBezTo>
                  <a:pt x="1036" y="403102"/>
                  <a:pt x="31000" y="366090"/>
                  <a:pt x="72967" y="356217"/>
                </a:cubicBezTo>
                <a:lnTo>
                  <a:pt x="1898096" y="1574"/>
                </a:lnTo>
                <a:cubicBezTo>
                  <a:pt x="1903779" y="244"/>
                  <a:pt x="1909626" y="-248"/>
                  <a:pt x="1915455" y="117"/>
                </a:cubicBezTo>
                <a:close/>
              </a:path>
            </a:pathLst>
          </a:cu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</p:spPr>
        <p:txBody>
          <a:bodyPr wrap="square" lIns="108000" tIns="900000">
            <a:normAutofit/>
          </a:bodyPr>
          <a:lstStyle>
            <a:lvl1pPr marL="0" indent="0">
              <a:buClr>
                <a:schemeClr val="bg1"/>
              </a:buClr>
              <a:buNone/>
              <a:defRPr sz="1200" b="1" cap="all" baseline="0">
                <a:solidFill>
                  <a:schemeClr val="bg1"/>
                </a:solidFill>
              </a:defRPr>
            </a:lvl1pPr>
            <a:lvl2pPr marL="177800" indent="-177800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 marL="539750" indent="-139700">
              <a:buClr>
                <a:schemeClr val="bg1"/>
              </a:buClr>
              <a:defRPr sz="105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/>
            </a:lvl4pPr>
            <a:lvl5pPr marL="245700" indent="0">
              <a:buNone/>
              <a:defRPr/>
            </a:lvl5pPr>
          </a:lstStyle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E184ABEA-1F9C-47BA-A9F9-71496BE957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8708" y="1201537"/>
            <a:ext cx="1971076" cy="3284874"/>
          </a:xfrm>
          <a:custGeom>
            <a:avLst/>
            <a:gdLst>
              <a:gd name="connsiteX0" fmla="*/ 1915455 w 1971076"/>
              <a:gd name="connsiteY0" fmla="*/ 117 h 3284874"/>
              <a:gd name="connsiteX1" fmla="*/ 1970955 w 1971076"/>
              <a:gd name="connsiteY1" fmla="*/ 63140 h 3284874"/>
              <a:gd name="connsiteX2" fmla="*/ 1970955 w 1971076"/>
              <a:gd name="connsiteY2" fmla="*/ 2838540 h 3284874"/>
              <a:gd name="connsiteX3" fmla="*/ 1898096 w 1971076"/>
              <a:gd name="connsiteY3" fmla="*/ 2928521 h 3284874"/>
              <a:gd name="connsiteX4" fmla="*/ 72967 w 1971076"/>
              <a:gd name="connsiteY4" fmla="*/ 3283346 h 3284874"/>
              <a:gd name="connsiteX5" fmla="*/ 56027 w 1971076"/>
              <a:gd name="connsiteY5" fmla="*/ 3284767 h 3284874"/>
              <a:gd name="connsiteX6" fmla="*/ 107 w 1971076"/>
              <a:gd name="connsiteY6" fmla="*/ 3221780 h 3284874"/>
              <a:gd name="connsiteX7" fmla="*/ 107 w 1971076"/>
              <a:gd name="connsiteY7" fmla="*/ 446198 h 3284874"/>
              <a:gd name="connsiteX8" fmla="*/ 72967 w 1971076"/>
              <a:gd name="connsiteY8" fmla="*/ 356217 h 3284874"/>
              <a:gd name="connsiteX9" fmla="*/ 1898096 w 1971076"/>
              <a:gd name="connsiteY9" fmla="*/ 1574 h 3284874"/>
              <a:gd name="connsiteX10" fmla="*/ 1915455 w 1971076"/>
              <a:gd name="connsiteY10" fmla="*/ 117 h 3284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71076" h="3284874">
                <a:moveTo>
                  <a:pt x="1915455" y="117"/>
                </a:moveTo>
                <a:cubicBezTo>
                  <a:pt x="1948187" y="2193"/>
                  <a:pt x="1973032" y="30408"/>
                  <a:pt x="1970955" y="63140"/>
                </a:cubicBezTo>
                <a:lnTo>
                  <a:pt x="1970955" y="2838540"/>
                </a:lnTo>
                <a:cubicBezTo>
                  <a:pt x="1969954" y="2881618"/>
                  <a:pt x="1940027" y="2918594"/>
                  <a:pt x="1898096" y="2928521"/>
                </a:cubicBezTo>
                <a:lnTo>
                  <a:pt x="72967" y="3283346"/>
                </a:lnTo>
                <a:cubicBezTo>
                  <a:pt x="67411" y="3284622"/>
                  <a:pt x="61710" y="3285113"/>
                  <a:pt x="56027" y="3284767"/>
                </a:cubicBezTo>
                <a:cubicBezTo>
                  <a:pt x="23204" y="3282818"/>
                  <a:pt x="-1842" y="3254621"/>
                  <a:pt x="107" y="3221780"/>
                </a:cubicBezTo>
                <a:lnTo>
                  <a:pt x="107" y="446198"/>
                </a:lnTo>
                <a:cubicBezTo>
                  <a:pt x="1036" y="403102"/>
                  <a:pt x="31000" y="366090"/>
                  <a:pt x="72967" y="356217"/>
                </a:cubicBezTo>
                <a:lnTo>
                  <a:pt x="1898096" y="1574"/>
                </a:lnTo>
                <a:cubicBezTo>
                  <a:pt x="1903779" y="244"/>
                  <a:pt x="1909626" y="-248"/>
                  <a:pt x="1915455" y="117"/>
                </a:cubicBezTo>
                <a:close/>
              </a:path>
            </a:pathLst>
          </a:custGeom>
          <a:gradFill>
            <a:gsLst>
              <a:gs pos="0">
                <a:schemeClr val="accent6"/>
              </a:gs>
              <a:gs pos="100000">
                <a:schemeClr val="accent4"/>
              </a:gs>
            </a:gsLst>
            <a:lin ang="0" scaled="0"/>
          </a:gradFill>
        </p:spPr>
        <p:txBody>
          <a:bodyPr wrap="square" lIns="108000" tIns="900000">
            <a:normAutofit/>
          </a:bodyPr>
          <a:lstStyle>
            <a:lvl1pPr marL="0" indent="0">
              <a:buClr>
                <a:schemeClr val="bg1"/>
              </a:buClr>
              <a:buNone/>
              <a:defRPr sz="1200" b="1" cap="all" baseline="0">
                <a:solidFill>
                  <a:schemeClr val="bg1"/>
                </a:solidFill>
              </a:defRPr>
            </a:lvl1pPr>
            <a:lvl2pPr marL="177800" indent="-177800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 marL="539750" indent="-139700">
              <a:buClr>
                <a:schemeClr val="bg1"/>
              </a:buClr>
              <a:defRPr sz="105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/>
            </a:lvl4pPr>
            <a:lvl5pPr marL="245700" indent="0">
              <a:buNone/>
              <a:defRPr/>
            </a:lvl5pPr>
          </a:lstStyle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8257593C-6D59-4F90-AB82-DDED240F2BB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28978" y="1201537"/>
            <a:ext cx="1971076" cy="3284874"/>
          </a:xfrm>
          <a:custGeom>
            <a:avLst/>
            <a:gdLst>
              <a:gd name="connsiteX0" fmla="*/ 1915455 w 1971076"/>
              <a:gd name="connsiteY0" fmla="*/ 117 h 3284874"/>
              <a:gd name="connsiteX1" fmla="*/ 1970955 w 1971076"/>
              <a:gd name="connsiteY1" fmla="*/ 63140 h 3284874"/>
              <a:gd name="connsiteX2" fmla="*/ 1970955 w 1971076"/>
              <a:gd name="connsiteY2" fmla="*/ 2838540 h 3284874"/>
              <a:gd name="connsiteX3" fmla="*/ 1898096 w 1971076"/>
              <a:gd name="connsiteY3" fmla="*/ 2928521 h 3284874"/>
              <a:gd name="connsiteX4" fmla="*/ 72967 w 1971076"/>
              <a:gd name="connsiteY4" fmla="*/ 3283346 h 3284874"/>
              <a:gd name="connsiteX5" fmla="*/ 56027 w 1971076"/>
              <a:gd name="connsiteY5" fmla="*/ 3284767 h 3284874"/>
              <a:gd name="connsiteX6" fmla="*/ 107 w 1971076"/>
              <a:gd name="connsiteY6" fmla="*/ 3221780 h 3284874"/>
              <a:gd name="connsiteX7" fmla="*/ 107 w 1971076"/>
              <a:gd name="connsiteY7" fmla="*/ 446198 h 3284874"/>
              <a:gd name="connsiteX8" fmla="*/ 72967 w 1971076"/>
              <a:gd name="connsiteY8" fmla="*/ 356217 h 3284874"/>
              <a:gd name="connsiteX9" fmla="*/ 1898096 w 1971076"/>
              <a:gd name="connsiteY9" fmla="*/ 1574 h 3284874"/>
              <a:gd name="connsiteX10" fmla="*/ 1915455 w 1971076"/>
              <a:gd name="connsiteY10" fmla="*/ 117 h 3284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71076" h="3284874">
                <a:moveTo>
                  <a:pt x="1915455" y="117"/>
                </a:moveTo>
                <a:cubicBezTo>
                  <a:pt x="1948187" y="2193"/>
                  <a:pt x="1973032" y="30408"/>
                  <a:pt x="1970955" y="63140"/>
                </a:cubicBezTo>
                <a:lnTo>
                  <a:pt x="1970955" y="2838540"/>
                </a:lnTo>
                <a:cubicBezTo>
                  <a:pt x="1969954" y="2881618"/>
                  <a:pt x="1940027" y="2918594"/>
                  <a:pt x="1898096" y="2928521"/>
                </a:cubicBezTo>
                <a:lnTo>
                  <a:pt x="72967" y="3283346"/>
                </a:lnTo>
                <a:cubicBezTo>
                  <a:pt x="67411" y="3284622"/>
                  <a:pt x="61710" y="3285113"/>
                  <a:pt x="56027" y="3284767"/>
                </a:cubicBezTo>
                <a:cubicBezTo>
                  <a:pt x="23204" y="3282818"/>
                  <a:pt x="-1842" y="3254621"/>
                  <a:pt x="107" y="3221780"/>
                </a:cubicBezTo>
                <a:lnTo>
                  <a:pt x="107" y="446198"/>
                </a:lnTo>
                <a:cubicBezTo>
                  <a:pt x="1036" y="403102"/>
                  <a:pt x="31000" y="366090"/>
                  <a:pt x="72967" y="356217"/>
                </a:cubicBezTo>
                <a:lnTo>
                  <a:pt x="1898096" y="1574"/>
                </a:lnTo>
                <a:cubicBezTo>
                  <a:pt x="1903779" y="244"/>
                  <a:pt x="1909626" y="-248"/>
                  <a:pt x="1915455" y="117"/>
                </a:cubicBezTo>
                <a:close/>
              </a:path>
            </a:pathLst>
          </a:custGeom>
          <a:gradFill>
            <a:gsLst>
              <a:gs pos="100000">
                <a:schemeClr val="accent5"/>
              </a:gs>
              <a:gs pos="0">
                <a:schemeClr val="accent4"/>
              </a:gs>
            </a:gsLst>
            <a:lin ang="0" scaled="0"/>
          </a:gradFill>
        </p:spPr>
        <p:txBody>
          <a:bodyPr wrap="square" lIns="108000" tIns="900000">
            <a:normAutofit/>
          </a:bodyPr>
          <a:lstStyle>
            <a:lvl1pPr marL="0" indent="0">
              <a:buClr>
                <a:schemeClr val="bg1"/>
              </a:buClr>
              <a:buNone/>
              <a:defRPr sz="1200" b="1" cap="all" baseline="0">
                <a:solidFill>
                  <a:schemeClr val="bg1"/>
                </a:solidFill>
              </a:defRPr>
            </a:lvl1pPr>
            <a:lvl2pPr marL="177800" indent="-177800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 marL="539750" indent="-139700">
              <a:buClr>
                <a:schemeClr val="bg1"/>
              </a:buClr>
              <a:defRPr sz="105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/>
            </a:lvl4pPr>
            <a:lvl5pPr marL="245700" indent="0">
              <a:buNone/>
              <a:defRPr/>
            </a:lvl5pPr>
          </a:lstStyle>
          <a:p>
            <a:pPr lvl="0"/>
            <a:r>
              <a:rPr lang="en-US" noProof="0"/>
              <a:t>Cliquez pour 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CFEC2E26-90EF-41D2-8FAD-C0573B251D5A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B7EFC83-9A76-4017-8C6C-349DCDE48AB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515052481"/>
      </p:ext>
    </p:extLst>
  </p:cSld>
  <p:clrMapOvr>
    <a:masterClrMapping/>
  </p:clrMapOvr>
  <p:transition spd="slow">
    <p:wip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et expl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graphique 7"/>
          <p:cNvSpPr>
            <a:spLocks noGrp="1"/>
          </p:cNvSpPr>
          <p:nvPr>
            <p:ph type="chart" sz="quarter" idx="19"/>
          </p:nvPr>
        </p:nvSpPr>
        <p:spPr>
          <a:xfrm>
            <a:off x="3154681" y="1303199"/>
            <a:ext cx="5640388" cy="307830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612000" rtlCol="0" anchor="ctr">
            <a:noAutofit/>
          </a:bodyPr>
          <a:lstStyle>
            <a:lvl1pPr>
              <a:defRPr lang="fr-FR" dirty="0"/>
            </a:lvl1pPr>
          </a:lstStyle>
          <a:p>
            <a:pPr marL="0" lvl="0" indent="0" algn="ctr">
              <a:spcBef>
                <a:spcPts val="1200"/>
              </a:spcBef>
              <a:buNone/>
            </a:pPr>
            <a:endParaRPr lang="en-US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689675" y="937699"/>
            <a:ext cx="2570400" cy="37080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ctr"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GRAPHIC TITL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98ECBA21-6195-41F9-A49E-3555631FE4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4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22D4603A-D53F-440A-A44A-072C5E5662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8877DD79-CE6A-441B-8A1A-41CD63ED8B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0819" y="1035861"/>
            <a:ext cx="2137351" cy="3563130"/>
          </a:xfrm>
          <a:custGeom>
            <a:avLst/>
            <a:gdLst>
              <a:gd name="connsiteX0" fmla="*/ 1911357 w 1971076"/>
              <a:gd name="connsiteY0" fmla="*/ 0 h 3284413"/>
              <a:gd name="connsiteX1" fmla="*/ 1916156 w 1971076"/>
              <a:gd name="connsiteY1" fmla="*/ 0 h 3284413"/>
              <a:gd name="connsiteX2" fmla="*/ 1956259 w 1971076"/>
              <a:gd name="connsiteY2" fmla="*/ 19672 h 3284413"/>
              <a:gd name="connsiteX3" fmla="*/ 1970955 w 1971076"/>
              <a:gd name="connsiteY3" fmla="*/ 62679 h 3284413"/>
              <a:gd name="connsiteX4" fmla="*/ 1970955 w 1971076"/>
              <a:gd name="connsiteY4" fmla="*/ 2838079 h 3284413"/>
              <a:gd name="connsiteX5" fmla="*/ 1898096 w 1971076"/>
              <a:gd name="connsiteY5" fmla="*/ 2928060 h 3284413"/>
              <a:gd name="connsiteX6" fmla="*/ 72967 w 1971076"/>
              <a:gd name="connsiteY6" fmla="*/ 3282885 h 3284413"/>
              <a:gd name="connsiteX7" fmla="*/ 56027 w 1971076"/>
              <a:gd name="connsiteY7" fmla="*/ 3284306 h 3284413"/>
              <a:gd name="connsiteX8" fmla="*/ 107 w 1971076"/>
              <a:gd name="connsiteY8" fmla="*/ 3221319 h 3284413"/>
              <a:gd name="connsiteX9" fmla="*/ 107 w 1971076"/>
              <a:gd name="connsiteY9" fmla="*/ 445737 h 3284413"/>
              <a:gd name="connsiteX10" fmla="*/ 72967 w 1971076"/>
              <a:gd name="connsiteY10" fmla="*/ 355756 h 3284413"/>
              <a:gd name="connsiteX11" fmla="*/ 1898096 w 1971076"/>
              <a:gd name="connsiteY11" fmla="*/ 1113 h 3284413"/>
              <a:gd name="connsiteX0" fmla="*/ 1898096 w 1971076"/>
              <a:gd name="connsiteY0" fmla="*/ 1113 h 3284413"/>
              <a:gd name="connsiteX1" fmla="*/ 1916156 w 1971076"/>
              <a:gd name="connsiteY1" fmla="*/ 0 h 3284413"/>
              <a:gd name="connsiteX2" fmla="*/ 1956259 w 1971076"/>
              <a:gd name="connsiteY2" fmla="*/ 19672 h 3284413"/>
              <a:gd name="connsiteX3" fmla="*/ 1970955 w 1971076"/>
              <a:gd name="connsiteY3" fmla="*/ 62679 h 3284413"/>
              <a:gd name="connsiteX4" fmla="*/ 1970955 w 1971076"/>
              <a:gd name="connsiteY4" fmla="*/ 2838079 h 3284413"/>
              <a:gd name="connsiteX5" fmla="*/ 1898096 w 1971076"/>
              <a:gd name="connsiteY5" fmla="*/ 2928060 h 3284413"/>
              <a:gd name="connsiteX6" fmla="*/ 72967 w 1971076"/>
              <a:gd name="connsiteY6" fmla="*/ 3282885 h 3284413"/>
              <a:gd name="connsiteX7" fmla="*/ 56027 w 1971076"/>
              <a:gd name="connsiteY7" fmla="*/ 3284306 h 3284413"/>
              <a:gd name="connsiteX8" fmla="*/ 107 w 1971076"/>
              <a:gd name="connsiteY8" fmla="*/ 3221319 h 3284413"/>
              <a:gd name="connsiteX9" fmla="*/ 107 w 1971076"/>
              <a:gd name="connsiteY9" fmla="*/ 445737 h 3284413"/>
              <a:gd name="connsiteX10" fmla="*/ 72967 w 1971076"/>
              <a:gd name="connsiteY10" fmla="*/ 355756 h 3284413"/>
              <a:gd name="connsiteX11" fmla="*/ 1898096 w 1971076"/>
              <a:gd name="connsiteY11" fmla="*/ 1113 h 3284413"/>
              <a:gd name="connsiteX0" fmla="*/ 1898096 w 1970955"/>
              <a:gd name="connsiteY0" fmla="*/ 1113 h 3284413"/>
              <a:gd name="connsiteX1" fmla="*/ 1916156 w 1970955"/>
              <a:gd name="connsiteY1" fmla="*/ 0 h 3284413"/>
              <a:gd name="connsiteX2" fmla="*/ 1970955 w 1970955"/>
              <a:gd name="connsiteY2" fmla="*/ 62679 h 3284413"/>
              <a:gd name="connsiteX3" fmla="*/ 1970955 w 1970955"/>
              <a:gd name="connsiteY3" fmla="*/ 2838079 h 3284413"/>
              <a:gd name="connsiteX4" fmla="*/ 1898096 w 1970955"/>
              <a:gd name="connsiteY4" fmla="*/ 2928060 h 3284413"/>
              <a:gd name="connsiteX5" fmla="*/ 72967 w 1970955"/>
              <a:gd name="connsiteY5" fmla="*/ 3282885 h 3284413"/>
              <a:gd name="connsiteX6" fmla="*/ 56027 w 1970955"/>
              <a:gd name="connsiteY6" fmla="*/ 3284306 h 3284413"/>
              <a:gd name="connsiteX7" fmla="*/ 107 w 1970955"/>
              <a:gd name="connsiteY7" fmla="*/ 3221319 h 3284413"/>
              <a:gd name="connsiteX8" fmla="*/ 107 w 1970955"/>
              <a:gd name="connsiteY8" fmla="*/ 445737 h 3284413"/>
              <a:gd name="connsiteX9" fmla="*/ 72967 w 1970955"/>
              <a:gd name="connsiteY9" fmla="*/ 355756 h 3284413"/>
              <a:gd name="connsiteX10" fmla="*/ 1898096 w 1970955"/>
              <a:gd name="connsiteY10" fmla="*/ 1113 h 3284413"/>
              <a:gd name="connsiteX0" fmla="*/ 1898096 w 1970955"/>
              <a:gd name="connsiteY0" fmla="*/ 0 h 3283300"/>
              <a:gd name="connsiteX1" fmla="*/ 1970955 w 1970955"/>
              <a:gd name="connsiteY1" fmla="*/ 61566 h 3283300"/>
              <a:gd name="connsiteX2" fmla="*/ 1970955 w 1970955"/>
              <a:gd name="connsiteY2" fmla="*/ 2836966 h 3283300"/>
              <a:gd name="connsiteX3" fmla="*/ 1898096 w 1970955"/>
              <a:gd name="connsiteY3" fmla="*/ 2926947 h 3283300"/>
              <a:gd name="connsiteX4" fmla="*/ 72967 w 1970955"/>
              <a:gd name="connsiteY4" fmla="*/ 3281772 h 3283300"/>
              <a:gd name="connsiteX5" fmla="*/ 56027 w 1970955"/>
              <a:gd name="connsiteY5" fmla="*/ 3283193 h 3283300"/>
              <a:gd name="connsiteX6" fmla="*/ 107 w 1970955"/>
              <a:gd name="connsiteY6" fmla="*/ 3220206 h 3283300"/>
              <a:gd name="connsiteX7" fmla="*/ 107 w 1970955"/>
              <a:gd name="connsiteY7" fmla="*/ 444624 h 3283300"/>
              <a:gd name="connsiteX8" fmla="*/ 72967 w 1970955"/>
              <a:gd name="connsiteY8" fmla="*/ 354643 h 3283300"/>
              <a:gd name="connsiteX9" fmla="*/ 1898096 w 1970955"/>
              <a:gd name="connsiteY9" fmla="*/ 0 h 3283300"/>
              <a:gd name="connsiteX0" fmla="*/ 1898096 w 1970955"/>
              <a:gd name="connsiteY0" fmla="*/ 1957 h 3285257"/>
              <a:gd name="connsiteX1" fmla="*/ 1970955 w 1970955"/>
              <a:gd name="connsiteY1" fmla="*/ 63523 h 3285257"/>
              <a:gd name="connsiteX2" fmla="*/ 1970955 w 1970955"/>
              <a:gd name="connsiteY2" fmla="*/ 2838923 h 3285257"/>
              <a:gd name="connsiteX3" fmla="*/ 1898096 w 1970955"/>
              <a:gd name="connsiteY3" fmla="*/ 2928904 h 3285257"/>
              <a:gd name="connsiteX4" fmla="*/ 72967 w 1970955"/>
              <a:gd name="connsiteY4" fmla="*/ 3283729 h 3285257"/>
              <a:gd name="connsiteX5" fmla="*/ 56027 w 1970955"/>
              <a:gd name="connsiteY5" fmla="*/ 3285150 h 3285257"/>
              <a:gd name="connsiteX6" fmla="*/ 107 w 1970955"/>
              <a:gd name="connsiteY6" fmla="*/ 3222163 h 3285257"/>
              <a:gd name="connsiteX7" fmla="*/ 107 w 1970955"/>
              <a:gd name="connsiteY7" fmla="*/ 446581 h 3285257"/>
              <a:gd name="connsiteX8" fmla="*/ 72967 w 1970955"/>
              <a:gd name="connsiteY8" fmla="*/ 356600 h 3285257"/>
              <a:gd name="connsiteX9" fmla="*/ 1898096 w 1970955"/>
              <a:gd name="connsiteY9" fmla="*/ 1957 h 3285257"/>
              <a:gd name="connsiteX0" fmla="*/ 1898096 w 1970975"/>
              <a:gd name="connsiteY0" fmla="*/ 2469 h 3285769"/>
              <a:gd name="connsiteX1" fmla="*/ 1970955 w 1970975"/>
              <a:gd name="connsiteY1" fmla="*/ 64035 h 3285769"/>
              <a:gd name="connsiteX2" fmla="*/ 1970955 w 1970975"/>
              <a:gd name="connsiteY2" fmla="*/ 2839435 h 3285769"/>
              <a:gd name="connsiteX3" fmla="*/ 1898096 w 1970975"/>
              <a:gd name="connsiteY3" fmla="*/ 2929416 h 3285769"/>
              <a:gd name="connsiteX4" fmla="*/ 72967 w 1970975"/>
              <a:gd name="connsiteY4" fmla="*/ 3284241 h 3285769"/>
              <a:gd name="connsiteX5" fmla="*/ 56027 w 1970975"/>
              <a:gd name="connsiteY5" fmla="*/ 3285662 h 3285769"/>
              <a:gd name="connsiteX6" fmla="*/ 107 w 1970975"/>
              <a:gd name="connsiteY6" fmla="*/ 3222675 h 3285769"/>
              <a:gd name="connsiteX7" fmla="*/ 107 w 1970975"/>
              <a:gd name="connsiteY7" fmla="*/ 447093 h 3285769"/>
              <a:gd name="connsiteX8" fmla="*/ 72967 w 1970975"/>
              <a:gd name="connsiteY8" fmla="*/ 357112 h 3285769"/>
              <a:gd name="connsiteX9" fmla="*/ 1898096 w 1970975"/>
              <a:gd name="connsiteY9" fmla="*/ 2469 h 328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0975" h="3285769">
                <a:moveTo>
                  <a:pt x="1898096" y="2469"/>
                </a:moveTo>
                <a:cubicBezTo>
                  <a:pt x="1968935" y="-10387"/>
                  <a:pt x="1971263" y="29459"/>
                  <a:pt x="1970955" y="64035"/>
                </a:cubicBezTo>
                <a:lnTo>
                  <a:pt x="1970955" y="2839435"/>
                </a:lnTo>
                <a:cubicBezTo>
                  <a:pt x="1969954" y="2882513"/>
                  <a:pt x="1940027" y="2919489"/>
                  <a:pt x="1898096" y="2929416"/>
                </a:cubicBezTo>
                <a:lnTo>
                  <a:pt x="72967" y="3284241"/>
                </a:lnTo>
                <a:cubicBezTo>
                  <a:pt x="67411" y="3285517"/>
                  <a:pt x="61710" y="3286008"/>
                  <a:pt x="56027" y="3285662"/>
                </a:cubicBezTo>
                <a:cubicBezTo>
                  <a:pt x="23204" y="3283713"/>
                  <a:pt x="-1842" y="3255516"/>
                  <a:pt x="107" y="3222675"/>
                </a:cubicBezTo>
                <a:lnTo>
                  <a:pt x="107" y="447093"/>
                </a:lnTo>
                <a:cubicBezTo>
                  <a:pt x="1036" y="403997"/>
                  <a:pt x="31000" y="366985"/>
                  <a:pt x="72967" y="357112"/>
                </a:cubicBezTo>
                <a:lnTo>
                  <a:pt x="1898096" y="2469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txBody>
          <a:bodyPr wrap="square" lIns="180000" tIns="504000" rIns="180000">
            <a:noAutofit/>
          </a:bodyPr>
          <a:lstStyle>
            <a:lvl1pPr marL="0" indent="0">
              <a:buNone/>
              <a:defRPr b="1" cap="all" baseline="0"/>
            </a:lvl1pPr>
            <a:lvl2pPr marL="177800" indent="-177800">
              <a:defRPr/>
            </a:lvl2pPr>
            <a:lvl3pPr marL="538163" indent="-139700">
              <a:defRPr/>
            </a:lvl3pPr>
          </a:lstStyle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BF8F44CC-8C68-4CC0-B39D-59546ABD451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C9098F6-51B9-423B-8282-FC5C41509D0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392551647"/>
      </p:ext>
    </p:extLst>
  </p:cSld>
  <p:clrMapOvr>
    <a:masterClrMapping/>
  </p:clrMapOvr>
  <p:transition spd="slow">
    <p:wip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graphique 7"/>
          <p:cNvSpPr>
            <a:spLocks noGrp="1"/>
          </p:cNvSpPr>
          <p:nvPr>
            <p:ph type="chart" sz="quarter" idx="19"/>
          </p:nvPr>
        </p:nvSpPr>
        <p:spPr>
          <a:xfrm>
            <a:off x="534905" y="1242664"/>
            <a:ext cx="8074191" cy="3138836"/>
          </a:xfrm>
          <a:prstGeom prst="rect">
            <a:avLst/>
          </a:prstGeom>
          <a:noFill/>
        </p:spPr>
        <p:txBody>
          <a:bodyPr vert="horz" wrap="square" lIns="91440" tIns="45720" rIns="91440" bIns="612000" rtlCol="0" anchor="ctr">
            <a:noAutofit/>
          </a:bodyPr>
          <a:lstStyle>
            <a:lvl1pPr marL="0" indent="0">
              <a:buNone/>
              <a:defRPr lang="fr-FR" dirty="0"/>
            </a:lvl1pPr>
          </a:lstStyle>
          <a:p>
            <a:pPr marL="180975" lvl="0" indent="-180975" algn="ctr">
              <a:spcBef>
                <a:spcPts val="1200"/>
              </a:spcBef>
            </a:pPr>
            <a:endParaRPr lang="en-US" noProof="0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92FFF1A9-33ED-4929-B092-8AD8D3E916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654998"/>
            <a:ext cx="7966189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3CE371FB-9DF1-4A23-9FE5-090D690024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3CFCF5D8-6CF0-4B46-8200-9442516A2D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91920" y="937699"/>
            <a:ext cx="2570400" cy="37080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ctr"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GRAPHIC TITLE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84FAF39D-8643-437D-A19C-C13288CEDE9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C335F92-D189-45A3-A4C7-F1C2C5AD264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866263388"/>
      </p:ext>
    </p:extLst>
  </p:cSld>
  <p:clrMapOvr>
    <a:masterClrMapping/>
  </p:clrMapOvr>
  <p:transition spd="slow"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ableau 4"/>
          <p:cNvSpPr>
            <a:spLocks noGrp="1"/>
          </p:cNvSpPr>
          <p:nvPr>
            <p:ph type="tbl" sz="quarter" idx="20"/>
          </p:nvPr>
        </p:nvSpPr>
        <p:spPr>
          <a:xfrm>
            <a:off x="534906" y="1311275"/>
            <a:ext cx="8074188" cy="3070225"/>
          </a:xfrm>
          <a:prstGeom prst="rect">
            <a:avLst/>
          </a:prstGeom>
          <a:noFill/>
        </p:spPr>
        <p:txBody>
          <a:bodyPr vert="horz" wrap="square" lIns="91440" tIns="45720" rIns="91440" bIns="612000" rtlCol="0" anchor="ctr">
            <a:noAutofit/>
          </a:bodyPr>
          <a:lstStyle>
            <a:lvl1pPr>
              <a:defRPr lang="fr-FR" dirty="0"/>
            </a:lvl1pPr>
          </a:lstStyle>
          <a:p>
            <a:pPr marL="0" lvl="0" indent="0" algn="ctr">
              <a:spcBef>
                <a:spcPts val="1200"/>
              </a:spcBef>
              <a:buNone/>
            </a:pPr>
            <a:endParaRPr lang="en-US" noProof="0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A2D62A31-73C7-487D-9447-7CFD2A6476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5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E7608FCC-47BC-4B3F-9C8F-D15D97874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1D2869C9-E3C8-42DF-80C2-801647CAD1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91920" y="937699"/>
            <a:ext cx="2570400" cy="37080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ctr"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GRAPHIC TITLE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4745E5B-0737-4D42-8A98-1FC3C4E4B37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55ED293-B029-472F-B1B2-76F65C1C19B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D52E7CA-940C-4B6E-9E73-0245BA95FC91}" type="slidenum">
              <a:rPr lang="en-US" noProof="0" smtClean="0"/>
              <a:pPr/>
              <a:t>‹#›</a:t>
            </a:fld>
            <a:r>
              <a:rPr lang="en-US" noProof="0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176063287"/>
      </p:ext>
    </p:extLst>
  </p:cSld>
  <p:clrMapOvr>
    <a:masterClrMapping/>
  </p:clrMapOvr>
  <p:transition spd="slow">
    <p:wip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6D31BC8-7CE9-4D2C-B743-19F75448A5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Business Unit - Organization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869B9143-37F9-49E8-B7D4-35DEA86B02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52E7CA-940C-4B6E-9E73-0245BA95FC91}" type="slidenum">
              <a:rPr lang="en-US" smtClean="0"/>
              <a:pPr/>
              <a:t>‹#›</a:t>
            </a:fld>
            <a:r>
              <a:rPr lang="en-US" dirty="0"/>
              <a:t> /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B57F3713-961F-4420-8603-3FF86494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7">
            <a:extLst>
              <a:ext uri="{FF2B5EF4-FFF2-40B4-BE49-F238E27FC236}">
                <a16:creationId xmlns:a16="http://schemas.microsoft.com/office/drawing/2014/main" id="{BC96FCD4-6036-4B2B-852C-42B4E1B8EC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54998"/>
            <a:ext cx="7973765" cy="288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958157850"/>
      </p:ext>
    </p:extLst>
  </p:cSld>
  <p:clrMapOvr>
    <a:masterClrMapping/>
  </p:clrMapOvr>
  <p:transition spd="slow">
    <p:wip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200025" indent="-200025">
              <a:buFont typeface="Wingdings 3" pitchFamily="18" charset="2"/>
              <a:buChar char=""/>
              <a:tabLst/>
              <a:defRPr/>
            </a:lvl1pPr>
            <a:lvl2pPr marL="407194" indent="-207169">
              <a:defRPr/>
            </a:lvl2pPr>
            <a:lvl3pPr marL="535781" indent="-128588">
              <a:defRPr/>
            </a:lvl3pPr>
            <a:lvl4pPr marL="671513" indent="-135731">
              <a:defRPr/>
            </a:lvl4pPr>
            <a:lvl5pPr marL="671513" indent="135731"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fr-FR" dirty="0" err="1"/>
              <a:t>Fifth</a:t>
            </a:r>
            <a:endParaRPr lang="en-US" dirty="0"/>
          </a:p>
          <a:p>
            <a:pPr lvl="4"/>
            <a:endParaRPr lang="fr-FR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4F4533-74A8-458F-BAB1-814870422C0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318379"/>
      </p:ext>
    </p:extLst>
  </p:cSld>
  <p:clrMapOvr>
    <a:masterClrMapping/>
  </p:clrMapOvr>
  <p:transition spd="slow">
    <p:wip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F66203A-F59E-2A15-FB8A-13B53E604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5881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66203A-F59E-2A15-FB8A-13B53E604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>
            <a:extLst>
              <a:ext uri="{FF2B5EF4-FFF2-40B4-BE49-F238E27FC236}">
                <a16:creationId xmlns:a16="http://schemas.microsoft.com/office/drawing/2014/main" id="{A8970E7E-173A-02DF-6F45-032FF2C125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9231" t="31162" r="7147" b="12847"/>
          <a:stretch/>
        </p:blipFill>
        <p:spPr>
          <a:xfrm>
            <a:off x="1" y="0"/>
            <a:ext cx="9143480" cy="5143208"/>
          </a:xfrm>
          <a:custGeom>
            <a:avLst/>
            <a:gdLst>
              <a:gd name="connsiteX0" fmla="*/ 0 w 9143480"/>
              <a:gd name="connsiteY0" fmla="*/ 0 h 5143208"/>
              <a:gd name="connsiteX1" fmla="*/ 9143480 w 9143480"/>
              <a:gd name="connsiteY1" fmla="*/ 0 h 5143208"/>
              <a:gd name="connsiteX2" fmla="*/ 9143480 w 9143480"/>
              <a:gd name="connsiteY2" fmla="*/ 3361573 h 5143208"/>
              <a:gd name="connsiteX3" fmla="*/ 10748 w 9143480"/>
              <a:gd name="connsiteY3" fmla="*/ 5143208 h 5143208"/>
              <a:gd name="connsiteX4" fmla="*/ 0 w 9143480"/>
              <a:gd name="connsiteY4" fmla="*/ 5143208 h 5143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3480" h="5143208">
                <a:moveTo>
                  <a:pt x="0" y="0"/>
                </a:moveTo>
                <a:lnTo>
                  <a:pt x="9143480" y="0"/>
                </a:lnTo>
                <a:lnTo>
                  <a:pt x="9143480" y="3361573"/>
                </a:lnTo>
                <a:lnTo>
                  <a:pt x="10748" y="5143208"/>
                </a:lnTo>
                <a:lnTo>
                  <a:pt x="0" y="5143208"/>
                </a:lnTo>
                <a:close/>
              </a:path>
            </a:pathLst>
          </a:cu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FC49279F-3509-2C9C-E157-59DA3DE39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9607" y="1410304"/>
            <a:ext cx="4567243" cy="1052596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lnSpc>
                <a:spcPct val="90000"/>
              </a:lnSpc>
              <a:defRPr sz="3800" b="1" cap="all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HIS IS THE </a:t>
            </a:r>
            <a:br>
              <a:rPr lang="en-GB" noProof="0" dirty="0"/>
            </a:br>
            <a:r>
              <a:rPr lang="en-GB" noProof="0" dirty="0"/>
              <a:t>SECTION NAM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47DB407-4611-7CF8-438F-756D3E06F7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607" y="2603891"/>
            <a:ext cx="4567243" cy="3231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subtitle of the section</a:t>
            </a:r>
            <a:endParaRPr lang="en-GB" dirty="0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334568A-5356-A249-31FF-A17FB9A7D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CBA3541C-3979-698F-16BF-25262F68249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0537" y="1019175"/>
            <a:ext cx="2181529" cy="2181529"/>
          </a:xfrm>
          <a:prstGeom prst="rect">
            <a:avLst/>
          </a:prstGeom>
        </p:spPr>
      </p:pic>
      <p:pic>
        <p:nvPicPr>
          <p:cNvPr id="4" name="Graphic 2">
            <a:extLst>
              <a:ext uri="{FF2B5EF4-FFF2-40B4-BE49-F238E27FC236}">
                <a16:creationId xmlns:a16="http://schemas.microsoft.com/office/drawing/2014/main" id="{B78D3430-2F63-0872-DA44-D1693C83020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842DE1D-4F31-7C8C-197C-98D75DD419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bg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Image 4" descr="Une image contenant graphisme, Graphique, cercle, capture d’écran&#10;&#10;Description générée automatiquement">
            <a:extLst>
              <a:ext uri="{FF2B5EF4-FFF2-40B4-BE49-F238E27FC236}">
                <a16:creationId xmlns:a16="http://schemas.microsoft.com/office/drawing/2014/main" id="{2EA8A16F-157E-894C-EF7A-5D69D8C865A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9786" y="295097"/>
            <a:ext cx="1124107" cy="75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867403"/>
      </p:ext>
    </p:extLst>
  </p:cSld>
  <p:clrMapOvr>
    <a:masterClrMapping/>
  </p:clrMapOvr>
  <p:transition spd="slow">
    <p:wip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A1DD2C-F193-DB52-A712-EB4B0455A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3976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A1DD2C-F193-DB52-A712-EB4B0455A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4">
            <a:extLst>
              <a:ext uri="{FF2B5EF4-FFF2-40B4-BE49-F238E27FC236}">
                <a16:creationId xmlns:a16="http://schemas.microsoft.com/office/drawing/2014/main" id="{E2D7160B-012D-3F9D-8621-948E0685B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1774" y="2110085"/>
            <a:ext cx="6340452" cy="923330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algn="ctr" rtl="0">
              <a:lnSpc>
                <a:spcPct val="100000"/>
              </a:lnSpc>
              <a:defRPr sz="5400" b="1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r>
              <a:rPr lang="en-GB" noProof="0" dirty="0"/>
              <a:t>THANK YOU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44C939B-3270-EBE4-C5A1-5CC8EA47CC0C}"/>
              </a:ext>
            </a:extLst>
          </p:cNvPr>
          <p:cNvSpPr/>
          <p:nvPr userDrawn="1"/>
        </p:nvSpPr>
        <p:spPr>
          <a:xfrm flipH="1">
            <a:off x="0" y="3330148"/>
            <a:ext cx="9144000" cy="1813352"/>
          </a:xfrm>
          <a:custGeom>
            <a:avLst/>
            <a:gdLst>
              <a:gd name="connsiteX0" fmla="*/ 0 w 9144000"/>
              <a:gd name="connsiteY0" fmla="*/ 0 h 1813352"/>
              <a:gd name="connsiteX1" fmla="*/ 0 w 9144000"/>
              <a:gd name="connsiteY1" fmla="*/ 1813352 h 1813352"/>
              <a:gd name="connsiteX2" fmla="*/ 9144000 w 9144000"/>
              <a:gd name="connsiteY2" fmla="*/ 1813352 h 1813352"/>
              <a:gd name="connsiteX3" fmla="*/ 9144000 w 9144000"/>
              <a:gd name="connsiteY3" fmla="*/ 1783625 h 1813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813352">
                <a:moveTo>
                  <a:pt x="0" y="0"/>
                </a:moveTo>
                <a:lnTo>
                  <a:pt x="0" y="1813352"/>
                </a:lnTo>
                <a:lnTo>
                  <a:pt x="9144000" y="1813352"/>
                </a:lnTo>
                <a:lnTo>
                  <a:pt x="9144000" y="1783625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en-GB" dirty="0"/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1A563DD7-DCD8-D876-1B87-DD54146B627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42860" y="4305651"/>
            <a:ext cx="1142418" cy="47693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4D940B3F-C29F-92D6-63E3-5B693C854E20}"/>
              </a:ext>
            </a:extLst>
          </p:cNvPr>
          <p:cNvSpPr txBox="1"/>
          <p:nvPr userDrawn="1"/>
        </p:nvSpPr>
        <p:spPr>
          <a:xfrm>
            <a:off x="-2385058" y="-45720"/>
            <a:ext cx="2114861" cy="1343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fr-FR" sz="1200" b="1">
                <a:solidFill>
                  <a:schemeClr val="accent1"/>
                </a:solidFill>
              </a:rPr>
              <a:t>Espace gris destiné à être remplacé par un image.</a:t>
            </a:r>
            <a:endParaRPr lang="fr-FR" sz="1050" b="1">
              <a:solidFill>
                <a:schemeClr val="accent1"/>
              </a:solidFill>
            </a:endParaRPr>
          </a:p>
          <a:p>
            <a:pPr>
              <a:spcBef>
                <a:spcPts val="400"/>
              </a:spcBef>
            </a:pPr>
            <a:r>
              <a:rPr lang="fr-FR" sz="1000">
                <a:solidFill>
                  <a:schemeClr val="accent1"/>
                </a:solidFill>
              </a:rPr>
              <a:t>Procédure à suivre :</a:t>
            </a:r>
          </a:p>
          <a:p>
            <a:pPr marL="92075" indent="-92075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accent1"/>
                </a:solidFill>
              </a:rPr>
              <a:t>Clic droit sur la slide </a:t>
            </a:r>
          </a:p>
          <a:p>
            <a:pPr marL="92075" indent="-92075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000" i="1">
                <a:solidFill>
                  <a:schemeClr val="accent1"/>
                </a:solidFill>
              </a:rPr>
              <a:t>Mise en forme de l’arrière-plan</a:t>
            </a:r>
          </a:p>
          <a:p>
            <a:pPr marL="92075" indent="-92075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accent1"/>
                </a:solidFill>
              </a:rPr>
              <a:t>Onglet Remplissage :</a:t>
            </a:r>
            <a:br>
              <a:rPr lang="fr-FR" sz="1000">
                <a:solidFill>
                  <a:schemeClr val="accent1"/>
                </a:solidFill>
              </a:rPr>
            </a:br>
            <a:r>
              <a:rPr lang="fr-FR" sz="1000" i="1">
                <a:solidFill>
                  <a:schemeClr val="accent1"/>
                </a:solidFill>
              </a:rPr>
              <a:t>Remplissage avec image ou texture</a:t>
            </a:r>
            <a:endParaRPr lang="en-US" sz="1000" i="1">
              <a:solidFill>
                <a:schemeClr val="accent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D331D03A-2301-14B9-8288-A9545A244E1B}"/>
              </a:ext>
            </a:extLst>
          </p:cNvPr>
          <p:cNvCxnSpPr/>
          <p:nvPr userDrawn="1"/>
        </p:nvCxnSpPr>
        <p:spPr>
          <a:xfrm>
            <a:off x="-173118" y="0"/>
            <a:ext cx="0" cy="51435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Une image contenant texte, cercle, graphisme, Graphique&#10;&#10;Description générée automatiquement">
            <a:extLst>
              <a:ext uri="{FF2B5EF4-FFF2-40B4-BE49-F238E27FC236}">
                <a16:creationId xmlns:a16="http://schemas.microsoft.com/office/drawing/2014/main" id="{65761748-3506-94FD-9AC2-D2BBAFF9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" r="37"/>
          <a:stretch/>
        </p:blipFill>
        <p:spPr>
          <a:xfrm>
            <a:off x="7970218" y="256599"/>
            <a:ext cx="1042456" cy="7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638337"/>
      </p:ext>
    </p:extLst>
  </p:cSld>
  <p:clrMapOvr>
    <a:masterClrMapping/>
  </p:clrMapOvr>
  <p:transition spd="slow">
    <p:wip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4A5ECC-734F-6A95-222F-52F8D5A69F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982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A5ECC-734F-6A95-222F-52F8D5A69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491" y="884614"/>
            <a:ext cx="815901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491" y="1129102"/>
            <a:ext cx="8159019" cy="320273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7E2F5CC-55AD-97D5-6357-410A289A6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61A380E4-34A7-B097-922A-5AB5EDB11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2" y="164461"/>
            <a:ext cx="8159016" cy="30777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461AA6AD-074D-4E8A-9510-02BA08357721}"/>
              </a:ext>
            </a:extLst>
          </p:cNvPr>
          <p:cNvSpPr/>
          <p:nvPr userDrawn="1"/>
        </p:nvSpPr>
        <p:spPr>
          <a:xfrm>
            <a:off x="492492" y="519506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9EC6D7-15F3-FE87-6B06-DC22D436AA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89915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Option5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que 6">
            <a:extLst>
              <a:ext uri="{FF2B5EF4-FFF2-40B4-BE49-F238E27FC236}">
                <a16:creationId xmlns:a16="http://schemas.microsoft.com/office/drawing/2014/main" id="{E0A037EE-2D06-3A37-A640-1C9B0455460F}"/>
              </a:ext>
            </a:extLst>
          </p:cNvPr>
          <p:cNvSpPr/>
          <p:nvPr/>
        </p:nvSpPr>
        <p:spPr>
          <a:xfrm>
            <a:off x="5295418" y="835541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gradFill>
            <a:gsLst>
              <a:gs pos="50000">
                <a:schemeClr val="accent4"/>
              </a:gs>
              <a:gs pos="0">
                <a:schemeClr val="tx1"/>
              </a:gs>
              <a:gs pos="100000">
                <a:schemeClr val="accent5"/>
              </a:gs>
            </a:gsLst>
            <a:lin ang="0" scaled="0"/>
          </a:gra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fr-FR" dirty="0"/>
          </a:p>
        </p:txBody>
      </p:sp>
      <p:sp>
        <p:nvSpPr>
          <p:cNvPr id="22" name="Graphique 6">
            <a:extLst>
              <a:ext uri="{FF2B5EF4-FFF2-40B4-BE49-F238E27FC236}">
                <a16:creationId xmlns:a16="http://schemas.microsoft.com/office/drawing/2014/main" id="{B713A0F4-CAFE-C918-36F2-8C5E96539E15}"/>
              </a:ext>
            </a:extLst>
          </p:cNvPr>
          <p:cNvSpPr/>
          <p:nvPr userDrawn="1"/>
        </p:nvSpPr>
        <p:spPr>
          <a:xfrm>
            <a:off x="4994476" y="604047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solidFill>
            <a:srgbClr val="FFFFFF"/>
          </a:soli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7DF1ECAD-5FBE-4A81-939A-22479C884F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418" y="1525027"/>
            <a:ext cx="2974693" cy="615553"/>
          </a:xfrm>
        </p:spPr>
        <p:txBody>
          <a:bodyPr anchor="b"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000" b="1" kern="1200" cap="all" baseline="0" noProof="0" dirty="0">
                <a:gradFill>
                  <a:gsLst>
                    <a:gs pos="0">
                      <a:schemeClr val="tx1"/>
                    </a:gs>
                    <a:gs pos="99426">
                      <a:schemeClr val="accent5"/>
                    </a:gs>
                    <a:gs pos="50000">
                      <a:schemeClr val="accent4"/>
                    </a:gs>
                  </a:gsLst>
                  <a:lin ang="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2451FC70-2CFA-417D-AE0B-CF2ABAE2CB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95418" y="2255640"/>
            <a:ext cx="2974693" cy="956952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2" name="SG logo SVG 2023">
            <a:extLst>
              <a:ext uri="{FF2B5EF4-FFF2-40B4-BE49-F238E27FC236}">
                <a16:creationId xmlns:a16="http://schemas.microsoft.com/office/drawing/2014/main" id="{2DC0D038-1DF5-38CA-50AC-8BF69B8990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420" y="4305031"/>
            <a:ext cx="1286184" cy="536160"/>
          </a:xfrm>
          <a:prstGeom prst="rect">
            <a:avLst/>
          </a:prstGeom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029FB7E4-D9AA-BF1A-038C-39066010EC49}"/>
              </a:ext>
            </a:extLst>
          </p:cNvPr>
          <p:cNvSpPr/>
          <p:nvPr userDrawn="1"/>
        </p:nvSpPr>
        <p:spPr>
          <a:xfrm>
            <a:off x="165600" y="165600"/>
            <a:ext cx="3983925" cy="5184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0227464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4A5ECC-734F-6A95-222F-52F8D5A69F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174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A5ECC-734F-6A95-222F-52F8D5A69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491" y="884614"/>
            <a:ext cx="815901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491" y="1129103"/>
            <a:ext cx="8159019" cy="1332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7E2F5CC-55AD-97D5-6357-410A289A6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61A380E4-34A7-B097-922A-5AB5EDB11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2" y="164461"/>
            <a:ext cx="8159016" cy="30777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461AA6AD-074D-4E8A-9510-02BA08357721}"/>
              </a:ext>
            </a:extLst>
          </p:cNvPr>
          <p:cNvSpPr/>
          <p:nvPr userDrawn="1"/>
        </p:nvSpPr>
        <p:spPr>
          <a:xfrm>
            <a:off x="492492" y="519506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346BF64-1FFA-18A3-97AB-3494C29F7F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2491" y="2755353"/>
            <a:ext cx="815901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5DAEE39-F301-BA02-6FDD-58624732A3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2491" y="2999842"/>
            <a:ext cx="8159019" cy="1332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9EC6D7-15F3-FE87-6B06-DC22D436AA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220128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8984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490" y="486922"/>
            <a:ext cx="8159018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491" y="1187603"/>
            <a:ext cx="815901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491" y="1432092"/>
            <a:ext cx="8159019" cy="289779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7E2F5CC-55AD-97D5-6357-410A289A6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492491" y="728725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2" y="164461"/>
            <a:ext cx="8159016" cy="30777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18D6A45-3C69-536E-1DF6-4A776C7BD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33930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2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3CF03B8-038A-7363-AA4F-FCCC793AF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4216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CF03B8-038A-7363-AA4F-FCCC793AF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491" y="1187603"/>
            <a:ext cx="815901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9582B9B-51AD-6DCD-35B1-AFF221F9A8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491" y="2872890"/>
            <a:ext cx="815901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491" y="1432092"/>
            <a:ext cx="8159019" cy="120488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E826BCA-0FAD-21CC-DB58-E0E4111110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2491" y="3124999"/>
            <a:ext cx="8159019" cy="120488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7E2F5CC-55AD-97D5-6357-410A289A6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8E8E34-0C10-F256-C481-6FA9EA0C03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490" y="486922"/>
            <a:ext cx="8159018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This is the slide subtitle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2DEE011-9E81-16C9-9D5E-BA0251E32DF1}"/>
              </a:ext>
            </a:extLst>
          </p:cNvPr>
          <p:cNvSpPr/>
          <p:nvPr userDrawn="1"/>
        </p:nvSpPr>
        <p:spPr>
          <a:xfrm>
            <a:off x="492491" y="728725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C2B277B6-2D70-F72A-3266-D3955691AF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2" y="164461"/>
            <a:ext cx="8159016" cy="30777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73B5BC2-8F0D-640D-B0F4-0C4E5F216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195971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8A40553-0148-92B2-486F-60B7F25D7DAB}"/>
              </a:ext>
            </a:extLst>
          </p:cNvPr>
          <p:cNvSpPr/>
          <p:nvPr userDrawn="1"/>
        </p:nvSpPr>
        <p:spPr>
          <a:xfrm>
            <a:off x="0" y="1599118"/>
            <a:ext cx="9144001" cy="3544382"/>
          </a:xfrm>
          <a:custGeom>
            <a:avLst/>
            <a:gdLst>
              <a:gd name="connsiteX0" fmla="*/ 9144001 w 9144001"/>
              <a:gd name="connsiteY0" fmla="*/ 0 h 3544382"/>
              <a:gd name="connsiteX1" fmla="*/ 9144001 w 9144001"/>
              <a:gd name="connsiteY1" fmla="*/ 3544382 h 3544382"/>
              <a:gd name="connsiteX2" fmla="*/ 0 w 9144001"/>
              <a:gd name="connsiteY2" fmla="*/ 3544382 h 3544382"/>
              <a:gd name="connsiteX3" fmla="*/ 0 w 9144001"/>
              <a:gd name="connsiteY3" fmla="*/ 1783833 h 354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1" h="3544382">
                <a:moveTo>
                  <a:pt x="9144001" y="0"/>
                </a:moveTo>
                <a:lnTo>
                  <a:pt x="9144001" y="3544382"/>
                </a:lnTo>
                <a:lnTo>
                  <a:pt x="0" y="3544382"/>
                </a:lnTo>
                <a:lnTo>
                  <a:pt x="0" y="1783833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8B192A-5767-F85C-BF9C-126DCD9D57D4}"/>
              </a:ext>
            </a:extLst>
          </p:cNvPr>
          <p:cNvSpPr/>
          <p:nvPr userDrawn="1"/>
        </p:nvSpPr>
        <p:spPr>
          <a:xfrm>
            <a:off x="176645" y="0"/>
            <a:ext cx="8790709" cy="5001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800" noProof="0" dirty="0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935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490" y="486922"/>
            <a:ext cx="8159018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491" y="1187603"/>
            <a:ext cx="815901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491" y="1432092"/>
            <a:ext cx="8159019" cy="289779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7E2F5CC-55AD-97D5-6357-410A289A6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492491" y="728725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2" y="164461"/>
            <a:ext cx="8159016" cy="30777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35F7FE5-DB13-09BD-CDB2-B02628BAC1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161211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F19ED2E-A7C5-D5C0-EFA6-D0696BBA4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411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19ED2E-A7C5-D5C0-EFA6-D0696BBA4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4FF03EB5-7A17-8E6E-C58E-9CF1F64E9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1" y="2217697"/>
            <a:ext cx="2481189" cy="615553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HIS IS THE</a:t>
            </a:r>
            <a:br>
              <a:rPr lang="en-GB" noProof="0" dirty="0"/>
            </a:br>
            <a:r>
              <a:rPr lang="en-GB" noProof="0" dirty="0"/>
              <a:t>SLIDE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1BBE402-9C40-E7BE-C8EC-4E3C6C54B6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491" y="2864248"/>
            <a:ext cx="248118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This is the slide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9AEBC9A-1C00-0D4E-D133-76FAC5C16E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8690" y="469584"/>
            <a:ext cx="524018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3146A7F-87C2-3C49-7536-FB11AD8019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78690" y="2180995"/>
            <a:ext cx="5240189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F33AF13-865D-1FC6-BC17-30B527E08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78690" y="714073"/>
            <a:ext cx="5240189" cy="120488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EF79C59-10F3-C731-977B-A0E34E8842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8690" y="2433104"/>
            <a:ext cx="5240189" cy="183409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8" name="Graphic 2">
            <a:extLst>
              <a:ext uri="{FF2B5EF4-FFF2-40B4-BE49-F238E27FC236}">
                <a16:creationId xmlns:a16="http://schemas.microsoft.com/office/drawing/2014/main" id="{EF1A245B-466B-70EA-0CCA-ADB52990D34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0CF8033-9AEA-06C0-DF47-4A712663D9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69819A1-0581-F999-E18F-2D89083B7EA3}"/>
              </a:ext>
            </a:extLst>
          </p:cNvPr>
          <p:cNvSpPr/>
          <p:nvPr userDrawn="1"/>
        </p:nvSpPr>
        <p:spPr>
          <a:xfrm>
            <a:off x="492491" y="3102088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F3354F1-AB84-4A98-FAFE-3D9AE341BA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7365966"/>
      </p:ext>
    </p:extLst>
  </p:cSld>
  <p:clrMapOvr>
    <a:masterClrMapping/>
  </p:clrMapOvr>
  <p:transition spd="slow">
    <p:wip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D0B341A-24B1-3C14-A5A1-FCD8B15F6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8349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0B341A-24B1-3C14-A5A1-FCD8B15F6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: Shape 1">
            <a:extLst>
              <a:ext uri="{FF2B5EF4-FFF2-40B4-BE49-F238E27FC236}">
                <a16:creationId xmlns:a16="http://schemas.microsoft.com/office/drawing/2014/main" id="{5B975FFC-89CE-1C9E-0EFF-EE539DA5EC02}"/>
              </a:ext>
            </a:extLst>
          </p:cNvPr>
          <p:cNvSpPr/>
          <p:nvPr userDrawn="1"/>
        </p:nvSpPr>
        <p:spPr>
          <a:xfrm>
            <a:off x="0" y="1599118"/>
            <a:ext cx="9144001" cy="3544382"/>
          </a:xfrm>
          <a:custGeom>
            <a:avLst/>
            <a:gdLst>
              <a:gd name="connsiteX0" fmla="*/ 9144001 w 9144001"/>
              <a:gd name="connsiteY0" fmla="*/ 0 h 3544382"/>
              <a:gd name="connsiteX1" fmla="*/ 9144001 w 9144001"/>
              <a:gd name="connsiteY1" fmla="*/ 3544382 h 3544382"/>
              <a:gd name="connsiteX2" fmla="*/ 0 w 9144001"/>
              <a:gd name="connsiteY2" fmla="*/ 3544382 h 3544382"/>
              <a:gd name="connsiteX3" fmla="*/ 0 w 9144001"/>
              <a:gd name="connsiteY3" fmla="*/ 1783833 h 354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1" h="3544382">
                <a:moveTo>
                  <a:pt x="9144001" y="0"/>
                </a:moveTo>
                <a:lnTo>
                  <a:pt x="9144001" y="3544382"/>
                </a:lnTo>
                <a:lnTo>
                  <a:pt x="0" y="3544382"/>
                </a:lnTo>
                <a:lnTo>
                  <a:pt x="0" y="1783833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noProof="0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CCB976D-ED68-2AA1-9163-CB31BE1F6C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492" y="1351468"/>
            <a:ext cx="4267078" cy="18466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57D49D-8B01-400F-A020-7C71D037F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492" y="1599118"/>
            <a:ext cx="4267078" cy="90794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None/>
              <a:defRPr sz="1000" b="0" spc="-2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1BC568D-FB84-6BB5-34CA-A2896FEDCD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492" y="2812603"/>
            <a:ext cx="4267078" cy="18466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03A3347-C6CC-7C5D-64FB-D30D9B9C4C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492" y="3060253"/>
            <a:ext cx="4267078" cy="105926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None/>
              <a:defRPr sz="1000" b="0" spc="-2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CF8F9384-1CDC-AC72-986A-914E31364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266819" y="2257747"/>
            <a:ext cx="1209600" cy="12096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ico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CDA6906-2E54-4186-A20E-352C4CB1C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73954" y="1233904"/>
            <a:ext cx="2598420" cy="153888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ts val="3000"/>
              </a:lnSpc>
              <a:spcBef>
                <a:spcPts val="0"/>
              </a:spcBef>
              <a:buNone/>
              <a:defRPr sz="25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7926ED80-F85E-5E17-569E-6E71428569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862E2C7-4A69-F252-4C39-F12B2748CF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2175359E-6298-D05A-483B-ED8CB39ED4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2" y="164461"/>
            <a:ext cx="8159016" cy="30777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0DFB1E0-45A9-EAE1-D085-19D4E17343DC}"/>
              </a:ext>
            </a:extLst>
          </p:cNvPr>
          <p:cNvSpPr/>
          <p:nvPr userDrawn="1"/>
        </p:nvSpPr>
        <p:spPr>
          <a:xfrm>
            <a:off x="492492" y="519506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B1AC504-79B9-3681-A4C6-2CE4AA218D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261784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E7C5325-17E9-6FB4-277E-4F4BA967E7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018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7C5325-17E9-6FB4-277E-4F4BA967E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CCB976D-ED68-2AA1-9163-CB31BE1F6C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492" y="1351468"/>
            <a:ext cx="4267078" cy="18466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57D49D-8B01-400F-A020-7C71D037F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492" y="1599118"/>
            <a:ext cx="4267078" cy="90794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None/>
              <a:defRPr sz="1000" b="0" spc="-2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1BC568D-FB84-6BB5-34CA-A2896FEDCD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492" y="2812603"/>
            <a:ext cx="4267078" cy="18466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03A3347-C6CC-7C5D-64FB-D30D9B9C4C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492" y="3060253"/>
            <a:ext cx="4267078" cy="105926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None/>
              <a:defRPr sz="1000" b="0" spc="-2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DE5682-5647-8C8D-EBB4-4F65AB1DAF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48958" y="1131207"/>
            <a:ext cx="3492000" cy="2736000"/>
          </a:xfrm>
          <a:custGeom>
            <a:avLst/>
            <a:gdLst>
              <a:gd name="connsiteX0" fmla="*/ 3438000 w 3492000"/>
              <a:gd name="connsiteY0" fmla="*/ 0 h 2736000"/>
              <a:gd name="connsiteX1" fmla="*/ 3492000 w 3492000"/>
              <a:gd name="connsiteY1" fmla="*/ 0 h 2736000"/>
              <a:gd name="connsiteX2" fmla="*/ 3492000 w 3492000"/>
              <a:gd name="connsiteY2" fmla="*/ 2682000 h 2736000"/>
              <a:gd name="connsiteX3" fmla="*/ 3492000 w 3492000"/>
              <a:gd name="connsiteY3" fmla="*/ 2736000 h 2736000"/>
              <a:gd name="connsiteX4" fmla="*/ 3438000 w 3492000"/>
              <a:gd name="connsiteY4" fmla="*/ 2736000 h 2736000"/>
              <a:gd name="connsiteX5" fmla="*/ 0 w 3492000"/>
              <a:gd name="connsiteY5" fmla="*/ 2736000 h 2736000"/>
              <a:gd name="connsiteX6" fmla="*/ 0 w 3492000"/>
              <a:gd name="connsiteY6" fmla="*/ 2682000 h 2736000"/>
              <a:gd name="connsiteX7" fmla="*/ 3438000 w 3492000"/>
              <a:gd name="connsiteY7" fmla="*/ 2682000 h 273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92000" h="2736000">
                <a:moveTo>
                  <a:pt x="3438000" y="0"/>
                </a:moveTo>
                <a:lnTo>
                  <a:pt x="3492000" y="0"/>
                </a:lnTo>
                <a:lnTo>
                  <a:pt x="3492000" y="2682000"/>
                </a:lnTo>
                <a:lnTo>
                  <a:pt x="3492000" y="2736000"/>
                </a:lnTo>
                <a:lnTo>
                  <a:pt x="3438000" y="2736000"/>
                </a:lnTo>
                <a:lnTo>
                  <a:pt x="0" y="2736000"/>
                </a:lnTo>
                <a:lnTo>
                  <a:pt x="0" y="2682000"/>
                </a:lnTo>
                <a:lnTo>
                  <a:pt x="3438000" y="268200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>
                  <a:alpha val="80000"/>
                </a:schemeClr>
              </a:gs>
            </a:gsLst>
            <a:lin ang="0" scaled="1"/>
          </a:gra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None/>
              <a:defRPr sz="900" b="0" spc="-2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CDA6906-2E54-4186-A20E-352C4CB1C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0641" y="1250307"/>
            <a:ext cx="3044175" cy="21600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3700" b="1" baseline="0">
                <a:gradFill>
                  <a:gsLst>
                    <a:gs pos="0">
                      <a:schemeClr val="accent2"/>
                    </a:gs>
                    <a:gs pos="100000">
                      <a:schemeClr val="accent3">
                        <a:alpha val="80000"/>
                      </a:schemeClr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9" name="Graphic 2">
            <a:extLst>
              <a:ext uri="{FF2B5EF4-FFF2-40B4-BE49-F238E27FC236}">
                <a16:creationId xmlns:a16="http://schemas.microsoft.com/office/drawing/2014/main" id="{01739524-B952-F090-F259-FEF529498D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34320E5-00C7-1541-3F59-4E0436A886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59E5970-0D89-8ADC-1DA1-5AA481122A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2" y="164461"/>
            <a:ext cx="8159016" cy="30777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5" name="Rectangle: Rounded Corners 12">
            <a:extLst>
              <a:ext uri="{FF2B5EF4-FFF2-40B4-BE49-F238E27FC236}">
                <a16:creationId xmlns:a16="http://schemas.microsoft.com/office/drawing/2014/main" id="{8FADCF1E-DCE6-E7D4-CF5C-B6F9986D86C0}"/>
              </a:ext>
            </a:extLst>
          </p:cNvPr>
          <p:cNvSpPr/>
          <p:nvPr userDrawn="1"/>
        </p:nvSpPr>
        <p:spPr>
          <a:xfrm>
            <a:off x="492492" y="519506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CFC0019-DB71-51DF-32F9-AF6205F30B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43219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C46A81-ABB9-0A44-6BC8-130474BC7A55}"/>
              </a:ext>
            </a:extLst>
          </p:cNvPr>
          <p:cNvSpPr/>
          <p:nvPr userDrawn="1"/>
        </p:nvSpPr>
        <p:spPr>
          <a:xfrm>
            <a:off x="5904000" y="0"/>
            <a:ext cx="3240000" cy="51435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39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490" y="486922"/>
            <a:ext cx="5040000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491" y="1187603"/>
            <a:ext cx="5040000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2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491" y="1432092"/>
            <a:ext cx="5040000" cy="289779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rtl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>
                <a:solidFill>
                  <a:schemeClr val="accent1"/>
                </a:solidFill>
              </a:defRPr>
            </a:lvl1pPr>
            <a:lvl2pPr marL="3456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>
                <a:solidFill>
                  <a:schemeClr val="accent1"/>
                </a:solidFill>
              </a:defRPr>
            </a:lvl2pPr>
            <a:lvl3pPr marL="518400" indent="-171450" rtl="0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4817" y="4693520"/>
            <a:ext cx="584274" cy="24392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7E2F5CC-55AD-97D5-6357-410A289A6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NAME OF THE PRESENTATION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492491" y="728725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2492" y="164461"/>
            <a:ext cx="5040000" cy="30777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000" b="1" cap="all" spc="4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3A107A5-31EA-9E3C-B9C9-F0A1F31602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44000" y="1432092"/>
            <a:ext cx="2160000" cy="289779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spc="-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A5C2F65-20C5-99E5-EB34-F153A991E1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44000" y="1187603"/>
            <a:ext cx="2160000" cy="18466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 spc="-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ITLE OF A PARAGRAPH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AC563E8-6677-822F-B2B0-F83D575E6F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562" y="4825819"/>
            <a:ext cx="236263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700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38039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option6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3645C3-6EA7-025C-63B7-CC9C92247119}"/>
              </a:ext>
            </a:extLst>
          </p:cNvPr>
          <p:cNvSpPr/>
          <p:nvPr userDrawn="1"/>
        </p:nvSpPr>
        <p:spPr>
          <a:xfrm>
            <a:off x="-1" y="0"/>
            <a:ext cx="20544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Graphique 6">
            <a:extLst>
              <a:ext uri="{FF2B5EF4-FFF2-40B4-BE49-F238E27FC236}">
                <a16:creationId xmlns:a16="http://schemas.microsoft.com/office/drawing/2014/main" id="{EEEB901E-C2AF-43C4-385F-CF89B812C669}"/>
              </a:ext>
            </a:extLst>
          </p:cNvPr>
          <p:cNvSpPr/>
          <p:nvPr userDrawn="1"/>
        </p:nvSpPr>
        <p:spPr>
          <a:xfrm>
            <a:off x="5295418" y="835541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gradFill>
            <a:gsLst>
              <a:gs pos="50000">
                <a:schemeClr val="accent4"/>
              </a:gs>
              <a:gs pos="0">
                <a:schemeClr val="tx1"/>
              </a:gs>
              <a:gs pos="100000">
                <a:schemeClr val="accent5"/>
              </a:gs>
            </a:gsLst>
            <a:lin ang="0" scaled="0"/>
          </a:gra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16" name="Graphique 6">
            <a:extLst>
              <a:ext uri="{FF2B5EF4-FFF2-40B4-BE49-F238E27FC236}">
                <a16:creationId xmlns:a16="http://schemas.microsoft.com/office/drawing/2014/main" id="{DD4522FD-6E94-5F06-ED65-DD39AE51D8D8}"/>
              </a:ext>
            </a:extLst>
          </p:cNvPr>
          <p:cNvSpPr/>
          <p:nvPr userDrawn="1"/>
        </p:nvSpPr>
        <p:spPr>
          <a:xfrm>
            <a:off x="4994476" y="604047"/>
            <a:ext cx="3520280" cy="3150491"/>
          </a:xfrm>
          <a:custGeom>
            <a:avLst/>
            <a:gdLst>
              <a:gd name="connsiteX0" fmla="*/ 124597 w 3520280"/>
              <a:gd name="connsiteY0" fmla="*/ 637946 h 3150491"/>
              <a:gd name="connsiteX1" fmla="*/ -395 w 3520280"/>
              <a:gd name="connsiteY1" fmla="*/ 791782 h 3150491"/>
              <a:gd name="connsiteX2" fmla="*/ -395 w 3520280"/>
              <a:gd name="connsiteY2" fmla="*/ 3042910 h 3150491"/>
              <a:gd name="connsiteX3" fmla="*/ 124597 w 3520280"/>
              <a:gd name="connsiteY3" fmla="*/ 3148167 h 3150491"/>
              <a:gd name="connsiteX4" fmla="*/ 3395020 w 3520280"/>
              <a:gd name="connsiteY4" fmla="*/ 2512452 h 3150491"/>
              <a:gd name="connsiteX5" fmla="*/ 3519885 w 3520280"/>
              <a:gd name="connsiteY5" fmla="*/ 2358615 h 3150491"/>
              <a:gd name="connsiteX6" fmla="*/ 3519885 w 3520280"/>
              <a:gd name="connsiteY6" fmla="*/ 107487 h 3150491"/>
              <a:gd name="connsiteX7" fmla="*/ 3395020 w 3520280"/>
              <a:gd name="connsiteY7" fmla="*/ 2230 h 315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20280" h="3150491">
                <a:moveTo>
                  <a:pt x="124597" y="637946"/>
                </a:moveTo>
                <a:cubicBezTo>
                  <a:pt x="52752" y="654758"/>
                  <a:pt x="1351" y="718014"/>
                  <a:pt x="-395" y="791782"/>
                </a:cubicBezTo>
                <a:lnTo>
                  <a:pt x="-395" y="3042910"/>
                </a:lnTo>
                <a:cubicBezTo>
                  <a:pt x="-395" y="3114388"/>
                  <a:pt x="55523" y="3161577"/>
                  <a:pt x="124597" y="3148167"/>
                </a:cubicBezTo>
                <a:lnTo>
                  <a:pt x="3395020" y="2512452"/>
                </a:lnTo>
                <a:cubicBezTo>
                  <a:pt x="3466814" y="2495588"/>
                  <a:pt x="3518153" y="2432345"/>
                  <a:pt x="3519885" y="2358615"/>
                </a:cubicBezTo>
                <a:lnTo>
                  <a:pt x="3519885" y="107487"/>
                </a:lnTo>
                <a:cubicBezTo>
                  <a:pt x="3519885" y="36009"/>
                  <a:pt x="3463968" y="-11180"/>
                  <a:pt x="3395020" y="2230"/>
                </a:cubicBezTo>
                <a:close/>
              </a:path>
            </a:pathLst>
          </a:custGeom>
          <a:solidFill>
            <a:srgbClr val="FFFFFF"/>
          </a:solidFill>
          <a:ln w="1264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17" name="Titre 7">
            <a:extLst>
              <a:ext uri="{FF2B5EF4-FFF2-40B4-BE49-F238E27FC236}">
                <a16:creationId xmlns:a16="http://schemas.microsoft.com/office/drawing/2014/main" id="{B8F005F6-61BA-CF25-3ED4-4FF766EF9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418" y="1525027"/>
            <a:ext cx="2974693" cy="615553"/>
          </a:xfrm>
        </p:spPr>
        <p:txBody>
          <a:bodyPr anchor="b"/>
          <a:lstStyle>
            <a:lvl1pPr>
              <a:defRPr sz="2000">
                <a:gradFill>
                  <a:gsLst>
                    <a:gs pos="0">
                      <a:schemeClr val="tx1"/>
                    </a:gs>
                    <a:gs pos="99426">
                      <a:schemeClr val="accent5"/>
                    </a:gs>
                    <a:gs pos="50000">
                      <a:schemeClr val="accent4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FC678B8C-E71C-F7D9-9FA7-19C0B38F3C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95418" y="2255640"/>
            <a:ext cx="2974693" cy="956952"/>
          </a:xfrm>
          <a:prstGeom prst="rect">
            <a:avLst/>
          </a:prstGeom>
        </p:spPr>
        <p:txBody>
          <a:bodyPr tIns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cap="none" baseline="0">
                <a:solidFill>
                  <a:schemeClr val="tx1"/>
                </a:solidFill>
              </a:defRPr>
            </a:lvl1pPr>
            <a:lvl2pPr marL="359991" marR="0" indent="-359991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lvl2pPr>
            <a:lvl3pPr marL="503987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tabLst/>
              <a:defRPr/>
            </a:lvl3pPr>
            <a:lvl4pPr marL="791981" marR="0" indent="-143996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/>
              <a:defRPr/>
            </a:lvl4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3" name="SG logo SVG 2023">
            <a:extLst>
              <a:ext uri="{FF2B5EF4-FFF2-40B4-BE49-F238E27FC236}">
                <a16:creationId xmlns:a16="http://schemas.microsoft.com/office/drawing/2014/main" id="{46AB1D2E-F2C8-4AAD-99FA-751D4E8FC0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420" y="4305031"/>
            <a:ext cx="1286184" cy="53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6687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 slide">
    <p:bg>
      <p:bgPr>
        <a:gradFill>
          <a:gsLst>
            <a:gs pos="0">
              <a:schemeClr val="tx1"/>
            </a:gs>
            <a:gs pos="50000">
              <a:schemeClr val="accent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5DFC1196-CC94-A611-7F7A-0F4695B3F7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27185" y="308538"/>
            <a:ext cx="5312780" cy="4293542"/>
          </a:xfrm>
          <a:prstGeom prst="rect">
            <a:avLst/>
          </a:prstGeom>
        </p:spPr>
      </p:pic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1B2752E1-6A05-4EE6-AE7C-103C12CA4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usiness Unit - Organization</a:t>
            </a: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4AB718-3474-E98A-14A3-7EC04C214F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52E7CA-940C-4B6E-9E73-0245BA95FC91}" type="slidenum">
              <a:rPr lang="en-US" smtClean="0"/>
              <a:pPr/>
              <a:t>‹#›</a:t>
            </a:fld>
            <a:r>
              <a:rPr lang="en-US" dirty="0"/>
              <a:t> /</a:t>
            </a:r>
          </a:p>
        </p:txBody>
      </p:sp>
      <p:pic>
        <p:nvPicPr>
          <p:cNvPr id="3" name="SG logo SVG 2023">
            <a:extLst>
              <a:ext uri="{FF2B5EF4-FFF2-40B4-BE49-F238E27FC236}">
                <a16:creationId xmlns:a16="http://schemas.microsoft.com/office/drawing/2014/main" id="{E92B160A-A2BE-66B3-396D-4E815DF623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22080" y="4683677"/>
            <a:ext cx="587011" cy="244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970529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 -général">
    <p:bg>
      <p:bgPr>
        <a:gradFill>
          <a:gsLst>
            <a:gs pos="0">
              <a:schemeClr val="tx1"/>
            </a:gs>
            <a:gs pos="50000">
              <a:schemeClr val="accent4"/>
            </a:gs>
            <a:gs pos="10000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5DFC1196-CC94-A611-7F7A-0F4695B3F7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27185" y="308538"/>
            <a:ext cx="5312780" cy="4293542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913942" y="2179956"/>
            <a:ext cx="3492000" cy="11251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228594" marR="0" indent="-228594" algn="l" defTabSz="91437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 b="1" i="0" cap="all" baseline="0">
                <a:ln>
                  <a:noFill/>
                </a:ln>
                <a:solidFill>
                  <a:schemeClr val="tx1"/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Title 2 Arial corps 12</a:t>
            </a:r>
          </a:p>
          <a:p>
            <a:r>
              <a:rPr lang="en-US" noProof="0" dirty="0"/>
              <a:t>Title 2 Arial corps 12</a:t>
            </a:r>
          </a:p>
          <a:p>
            <a:r>
              <a:rPr lang="en-US" noProof="0" dirty="0"/>
              <a:t>Title 2 Arial corps 12</a:t>
            </a:r>
          </a:p>
          <a:p>
            <a:r>
              <a:rPr lang="en-US" noProof="0" dirty="0"/>
              <a:t>Title 2 Arial corps 12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D948DE6C-A9E7-4243-B395-48749870B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13943" y="1505311"/>
            <a:ext cx="3492000" cy="615553"/>
          </a:xfrm>
        </p:spPr>
        <p:txBody>
          <a:bodyPr anchor="b"/>
          <a:lstStyle>
            <a:lvl1pPr>
              <a:defRPr sz="2000">
                <a:gradFill>
                  <a:gsLst>
                    <a:gs pos="0">
                      <a:schemeClr val="tx1"/>
                    </a:gs>
                    <a:gs pos="50000">
                      <a:schemeClr val="accent4"/>
                    </a:gs>
                    <a:gs pos="100000">
                      <a:schemeClr val="accent5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1B2752E1-6A05-4EE6-AE7C-103C12CA4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usiness Unit - Organization</a:t>
            </a: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4AB718-3474-E98A-14A3-7EC04C214F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52E7CA-940C-4B6E-9E73-0245BA95FC91}" type="slidenum">
              <a:rPr lang="en-US" smtClean="0"/>
              <a:pPr/>
              <a:t>‹#›</a:t>
            </a:fld>
            <a:r>
              <a:rPr lang="en-US" dirty="0"/>
              <a:t> /</a:t>
            </a:r>
          </a:p>
        </p:txBody>
      </p:sp>
      <p:pic>
        <p:nvPicPr>
          <p:cNvPr id="4" name="SG logo SVG 2023">
            <a:extLst>
              <a:ext uri="{FF2B5EF4-FFF2-40B4-BE49-F238E27FC236}">
                <a16:creationId xmlns:a16="http://schemas.microsoft.com/office/drawing/2014/main" id="{6EEF1F1B-5331-1003-41F8-077011A6F03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22080" y="4683677"/>
            <a:ext cx="587011" cy="244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379307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-généra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que 4">
            <a:extLst>
              <a:ext uri="{FF2B5EF4-FFF2-40B4-BE49-F238E27FC236}">
                <a16:creationId xmlns:a16="http://schemas.microsoft.com/office/drawing/2014/main" id="{5DFC1196-CC94-A611-7F7A-0F4695B3F775}"/>
              </a:ext>
            </a:extLst>
          </p:cNvPr>
          <p:cNvSpPr/>
          <p:nvPr/>
        </p:nvSpPr>
        <p:spPr>
          <a:xfrm>
            <a:off x="1927184" y="308420"/>
            <a:ext cx="5317621" cy="4298833"/>
          </a:xfrm>
          <a:custGeom>
            <a:avLst/>
            <a:gdLst>
              <a:gd name="connsiteX0" fmla="*/ 146745 w 5317621"/>
              <a:gd name="connsiteY0" fmla="*/ 979198 h 4298833"/>
              <a:gd name="connsiteX1" fmla="*/ -153 w 5317621"/>
              <a:gd name="connsiteY1" fmla="*/ 1160368 h 4298833"/>
              <a:gd name="connsiteX2" fmla="*/ -153 w 5317621"/>
              <a:gd name="connsiteY2" fmla="*/ 4171963 h 4298833"/>
              <a:gd name="connsiteX3" fmla="*/ 146745 w 5317621"/>
              <a:gd name="connsiteY3" fmla="*/ 4296055 h 4298833"/>
              <a:gd name="connsiteX4" fmla="*/ 5170444 w 5317621"/>
              <a:gd name="connsiteY4" fmla="*/ 3319497 h 4298833"/>
              <a:gd name="connsiteX5" fmla="*/ 5317469 w 5317621"/>
              <a:gd name="connsiteY5" fmla="*/ 3138327 h 4298833"/>
              <a:gd name="connsiteX6" fmla="*/ 5317469 w 5317621"/>
              <a:gd name="connsiteY6" fmla="*/ 126732 h 4298833"/>
              <a:gd name="connsiteX7" fmla="*/ 5170444 w 5317621"/>
              <a:gd name="connsiteY7" fmla="*/ 2768 h 4298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17621" h="4298833">
                <a:moveTo>
                  <a:pt x="146745" y="979198"/>
                </a:moveTo>
                <a:cubicBezTo>
                  <a:pt x="65588" y="994996"/>
                  <a:pt x="-153" y="1076153"/>
                  <a:pt x="-153" y="1160368"/>
                </a:cubicBezTo>
                <a:lnTo>
                  <a:pt x="-153" y="4171963"/>
                </a:lnTo>
                <a:cubicBezTo>
                  <a:pt x="-153" y="4256305"/>
                  <a:pt x="65588" y="4312108"/>
                  <a:pt x="146745" y="4296055"/>
                </a:cubicBezTo>
                <a:lnTo>
                  <a:pt x="5170444" y="3319497"/>
                </a:lnTo>
                <a:cubicBezTo>
                  <a:pt x="5251601" y="3303699"/>
                  <a:pt x="5317469" y="3222669"/>
                  <a:pt x="5317469" y="3138327"/>
                </a:cubicBezTo>
                <a:lnTo>
                  <a:pt x="5317469" y="126732"/>
                </a:lnTo>
                <a:cubicBezTo>
                  <a:pt x="5317469" y="42390"/>
                  <a:pt x="5251601" y="-13413"/>
                  <a:pt x="5170444" y="2768"/>
                </a:cubicBezTo>
                <a:close/>
              </a:path>
            </a:pathLst>
          </a:custGeom>
          <a:gradFill>
            <a:gsLst>
              <a:gs pos="0">
                <a:schemeClr val="tx1"/>
              </a:gs>
              <a:gs pos="50000">
                <a:schemeClr val="accent4"/>
              </a:gs>
              <a:gs pos="100000">
                <a:schemeClr val="accent5"/>
              </a:gs>
            </a:gsLst>
            <a:lin ang="0" scaled="0"/>
          </a:gradFill>
          <a:ln w="12723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913942" y="2179956"/>
            <a:ext cx="3996144" cy="11251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600" b="1" i="0" cap="none" baseline="0">
                <a:ln>
                  <a:noFill/>
                </a:ln>
                <a:solidFill>
                  <a:schemeClr val="bg1"/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D948DE6C-A9E7-4243-B395-48749870B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13943" y="1505311"/>
            <a:ext cx="3996144" cy="615553"/>
          </a:xfrm>
        </p:spPr>
        <p:txBody>
          <a:bodyPr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1B2752E1-6A05-4EE6-AE7C-103C12CA4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usiness Unit - Organization</a:t>
            </a: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4AB718-3474-E98A-14A3-7EC04C214F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52E7CA-940C-4B6E-9E73-0245BA95FC91}" type="slidenum">
              <a:rPr lang="en-US" smtClean="0"/>
              <a:pPr/>
              <a:t>‹#›</a:t>
            </a:fld>
            <a:r>
              <a:rPr lang="en-US" dirty="0"/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3659023038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G logo SVG 2023">
            <a:extLst>
              <a:ext uri="{FF2B5EF4-FFF2-40B4-BE49-F238E27FC236}">
                <a16:creationId xmlns:a16="http://schemas.microsoft.com/office/drawing/2014/main" id="{0024DB70-7EDD-0155-E6C2-B45A03BEDDA8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8222080" y="4683677"/>
            <a:ext cx="587011" cy="244702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60000" y="327702"/>
            <a:ext cx="7973764" cy="307777"/>
          </a:xfrm>
          <a:prstGeom prst="rect">
            <a:avLst/>
          </a:prstGeom>
        </p:spPr>
        <p:txBody>
          <a:bodyPr vert="horz" wrap="square" lIns="0" tIns="0" rIns="91440" bIns="0" rtlCol="0" anchor="t" anchorCtr="0">
            <a:spAutoFit/>
          </a:bodyPr>
          <a:lstStyle/>
          <a:p>
            <a:r>
              <a:rPr lang="en-US" noProof="0" dirty="0" err="1"/>
              <a:t>TitLe</a:t>
            </a:r>
            <a:r>
              <a:rPr lang="en-US" noProof="0" dirty="0"/>
              <a:t> 1 (LEVEL 0) arial 18-point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4816180"/>
            <a:ext cx="2895600" cy="123111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algn="ctr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Business Unit - Organiz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01" y="4816180"/>
            <a:ext cx="504000" cy="123111"/>
          </a:xfrm>
          <a:prstGeom prst="rect">
            <a:avLst/>
          </a:prstGeom>
        </p:spPr>
        <p:txBody>
          <a:bodyPr vert="horz" wrap="square" lIns="36000" tIns="0" rIns="3600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D52E7CA-940C-4B6E-9E73-0245BA95FC91}" type="slidenum">
              <a:rPr lang="en-US" smtClean="0"/>
              <a:pPr/>
              <a:t>‹#›</a:t>
            </a:fld>
            <a:r>
              <a:rPr lang="en-US" dirty="0"/>
              <a:t> /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57203" y="3012450"/>
            <a:ext cx="8041593" cy="16712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100" noProof="0" dirty="0">
              <a:solidFill>
                <a:schemeClr val="bg2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60000" y="1069848"/>
            <a:ext cx="7680054" cy="3437742"/>
          </a:xfrm>
          <a:prstGeom prst="rect">
            <a:avLst/>
          </a:prstGeom>
          <a:noFill/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</p:spTree>
    <p:extLst>
      <p:ext uri="{BB962C8B-B14F-4D97-AF65-F5344CB8AC3E}">
        <p14:creationId xmlns:p14="http://schemas.microsoft.com/office/powerpoint/2010/main" val="2180283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58" r:id="rId2"/>
    <p:sldLayoutId id="2147483748" r:id="rId3"/>
    <p:sldLayoutId id="2147483759" r:id="rId4"/>
    <p:sldLayoutId id="2147483760" r:id="rId5"/>
    <p:sldLayoutId id="2147483761" r:id="rId6"/>
    <p:sldLayoutId id="2147483762" r:id="rId7"/>
    <p:sldLayoutId id="2147483727" r:id="rId8"/>
    <p:sldLayoutId id="2147483756" r:id="rId9"/>
    <p:sldLayoutId id="2147483687" r:id="rId10"/>
    <p:sldLayoutId id="2147483688" r:id="rId11"/>
    <p:sldLayoutId id="2147483729" r:id="rId12"/>
    <p:sldLayoutId id="2147483730" r:id="rId13"/>
    <p:sldLayoutId id="2147483692" r:id="rId14"/>
    <p:sldLayoutId id="2147483693" r:id="rId15"/>
    <p:sldLayoutId id="2147483734" r:id="rId16"/>
    <p:sldLayoutId id="2147483738" r:id="rId17"/>
    <p:sldLayoutId id="2147483746" r:id="rId18"/>
    <p:sldLayoutId id="2147483747" r:id="rId19"/>
    <p:sldLayoutId id="2147483736" r:id="rId20"/>
    <p:sldLayoutId id="2147483740" r:id="rId21"/>
    <p:sldLayoutId id="2147483739" r:id="rId22"/>
    <p:sldLayoutId id="2147483741" r:id="rId23"/>
    <p:sldLayoutId id="2147483735" r:id="rId24"/>
    <p:sldLayoutId id="2147483737" r:id="rId25"/>
    <p:sldLayoutId id="2147483742" r:id="rId26"/>
    <p:sldLayoutId id="2147483744" r:id="rId27"/>
    <p:sldLayoutId id="2147483743" r:id="rId28"/>
    <p:sldLayoutId id="2147483745" r:id="rId29"/>
    <p:sldLayoutId id="2147483689" r:id="rId30"/>
    <p:sldLayoutId id="2147483732" r:id="rId31"/>
    <p:sldLayoutId id="2147483733" r:id="rId32"/>
    <p:sldLayoutId id="2147483731" r:id="rId33"/>
    <p:sldLayoutId id="2147483753" r:id="rId34"/>
    <p:sldLayoutId id="2147483766" r:id="rId35"/>
    <p:sldLayoutId id="2147483763" r:id="rId36"/>
    <p:sldLayoutId id="2147483767" r:id="rId37"/>
    <p:sldLayoutId id="2147483764" r:id="rId38"/>
    <p:sldLayoutId id="2147483765" r:id="rId39"/>
    <p:sldLayoutId id="2147483691" r:id="rId40"/>
    <p:sldLayoutId id="2147483704" r:id="rId41"/>
    <p:sldLayoutId id="2147483707" r:id="rId42"/>
    <p:sldLayoutId id="2147483708" r:id="rId43"/>
    <p:sldLayoutId id="2147483709" r:id="rId44"/>
    <p:sldLayoutId id="2147483726" r:id="rId45"/>
    <p:sldLayoutId id="2147483782" r:id="rId46"/>
    <p:sldLayoutId id="2147483783" r:id="rId47"/>
    <p:sldLayoutId id="2147483786" r:id="rId48"/>
  </p:sldLayoutIdLst>
  <p:transition spd="slow">
    <p:wip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2000" b="1" kern="1200" cap="all" baseline="0">
          <a:gradFill>
            <a:gsLst>
              <a:gs pos="0">
                <a:schemeClr val="tx1"/>
              </a:gs>
              <a:gs pos="50000">
                <a:schemeClr val="accent4"/>
              </a:gs>
              <a:gs pos="100000">
                <a:schemeClr val="accent5"/>
              </a:gs>
            </a:gsLst>
            <a:lin ang="0" scaled="0"/>
          </a:gra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0975" marR="0" indent="-180975" algn="l" defTabSz="914378" rtl="0" eaLnBrk="1" fontAlgn="auto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/>
        </a:buClr>
        <a:buSzTx/>
        <a:buFont typeface="Arial" panose="020B0604020202020204" pitchFamily="34" charset="0"/>
        <a:buChar char="●"/>
        <a:tabLst/>
        <a:defRPr sz="17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6575" marR="0" indent="-177800" algn="l" defTabSz="914378" rtl="0" eaLnBrk="1" fontAlgn="auto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●"/>
        <a:tabLst/>
        <a:defRPr sz="15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63600" marR="0" indent="-139700" algn="l" defTabSz="914378" rtl="0" eaLnBrk="1" fontAlgn="auto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/>
        </a:buClr>
        <a:buSzTx/>
        <a:buFont typeface="Arial" panose="020B0604020202020204" pitchFamily="34" charset="0"/>
        <a:buChar char="●"/>
        <a:tabLst/>
        <a:defRPr lang="fr-FR" sz="13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3600" marR="0" indent="-139700" algn="l" defTabSz="914378" rtl="0" eaLnBrk="1" fontAlgn="auto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/>
        </a:buClr>
        <a:buSzTx/>
        <a:buFont typeface="Arial" panose="020B0604020202020204" pitchFamily="34" charset="0"/>
        <a:buChar char="●"/>
        <a:tabLst/>
        <a:defRPr sz="1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60000" marR="0" indent="-114300" algn="l" defTabSz="914378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marR="0" indent="-115200" algn="l" defTabSz="914378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360000" marR="0" indent="-115200" algn="l" defTabSz="914378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100" kern="1200">
          <a:solidFill>
            <a:schemeClr val="bg2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marR="0" indent="-115200" algn="l" defTabSz="914378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100" kern="1200">
          <a:solidFill>
            <a:schemeClr val="bg2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863600" marR="0" indent="-139700" algn="l" defTabSz="914378" rtl="0" eaLnBrk="1" fontAlgn="auto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2"/>
        </a:buClr>
        <a:buSzTx/>
        <a:buFont typeface="Arial" panose="020B0604020202020204" pitchFamily="34" charset="0"/>
        <a:buChar char="●"/>
        <a:tabLst/>
        <a:defRPr sz="1300" kern="1200">
          <a:solidFill>
            <a:schemeClr val="bg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fr-FR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222" userDrawn="1">
          <p15:clr>
            <a:srgbClr val="F26B43"/>
          </p15:clr>
        </p15:guide>
        <p15:guide id="5" pos="5539" userDrawn="1">
          <p15:clr>
            <a:srgbClr val="F26B43"/>
          </p15:clr>
        </p15:guide>
        <p15:guide id="7" orient="horz" pos="3103" userDrawn="1">
          <p15:clr>
            <a:srgbClr val="F26B43"/>
          </p15:clr>
        </p15:guide>
        <p15:guide id="9" pos="4628" userDrawn="1">
          <p15:clr>
            <a:srgbClr val="F26B43"/>
          </p15:clr>
        </p15:guide>
        <p15:guide id="11" orient="horz" pos="219" userDrawn="1">
          <p15:clr>
            <a:srgbClr val="F26B43"/>
          </p15:clr>
        </p15:guide>
        <p15:guide id="12" pos="3696" userDrawn="1">
          <p15:clr>
            <a:srgbClr val="F26B43"/>
          </p15:clr>
        </p15:guide>
        <p15:guide id="13" pos="385" userDrawn="1">
          <p15:clr>
            <a:srgbClr val="F26B43"/>
          </p15:clr>
        </p15:guide>
        <p15:guide id="14" orient="horz" pos="826" userDrawn="1">
          <p15:clr>
            <a:srgbClr val="F26B43"/>
          </p15:clr>
        </p15:guide>
        <p15:guide id="15" orient="horz" pos="669" userDrawn="1">
          <p15:clr>
            <a:srgbClr val="F26B43"/>
          </p15:clr>
        </p15:guide>
        <p15:guide id="17" orient="horz" pos="27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056ED5-FE5A-FFDF-D272-912E02456E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67878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51" imgH="351" progId="TCLayout.ActiveDocument.1">
                  <p:embed/>
                </p:oleObj>
              </mc:Choice>
              <mc:Fallback>
                <p:oleObj name="think-cell Slide" r:id="rId12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56ED5-FE5A-FFDF-D272-912E02456E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0181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</p:sldLayoutIdLst>
  <p:transition spd="slow">
    <p:wipe/>
  </p:transition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57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6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7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7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6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3117D6-B6AB-6C57-6722-F45ABAC12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607" y="1410304"/>
            <a:ext cx="5237431" cy="1052596"/>
          </a:xfrm>
        </p:spPr>
        <p:txBody>
          <a:bodyPr/>
          <a:lstStyle/>
          <a:p>
            <a:r>
              <a:rPr lang="cs-CZ" dirty="0"/>
              <a:t>Fotovoltaika (PV) </a:t>
            </a:r>
            <a:br>
              <a:rPr lang="cs-CZ" dirty="0"/>
            </a:br>
            <a:r>
              <a:rPr lang="cs-CZ" dirty="0"/>
              <a:t>a ploché střechy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5D06357-1CA1-0E37-FDBA-1170F4C36B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/>
              <a:t>Z hlediska podkladní konstrukce A POŽÁRNÍ BEZPEČNOSTI </a:t>
            </a:r>
          </a:p>
          <a:p>
            <a:r>
              <a:rPr lang="cs-CZ" dirty="0"/>
              <a:t>ING. PAVEL RYDLO</a:t>
            </a:r>
          </a:p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1D76A95-E6BB-E83B-EA58-A7063C695D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222" y="4829718"/>
            <a:ext cx="3086100" cy="107722"/>
          </a:xfrm>
        </p:spPr>
        <p:txBody>
          <a:bodyPr/>
          <a:lstStyle/>
          <a:p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F54F7AA-A346-A7AC-08F0-85E0AB732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09B0AF7-3924-4693-AD32-8215A0397987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145037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/>
              <a:t>Konkrétní příklad posouzení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23DE7F9A-8168-54C6-91C6-F3B30FF002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5314" y="2045413"/>
            <a:ext cx="5158686" cy="2529572"/>
          </a:xfrm>
          <a:prstGeom prst="rect">
            <a:avLst/>
          </a:prstGeom>
        </p:spPr>
      </p:pic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FDB58380-9A3F-8F1E-CD23-03044A6D82C0}"/>
              </a:ext>
            </a:extLst>
          </p:cNvPr>
          <p:cNvSpPr txBox="1">
            <a:spLocks/>
          </p:cNvSpPr>
          <p:nvPr/>
        </p:nvSpPr>
        <p:spPr>
          <a:xfrm>
            <a:off x="214050" y="813852"/>
            <a:ext cx="6552510" cy="2529572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/>
            <a:r>
              <a:rPr lang="cs-CZ" sz="1400" b="1" dirty="0"/>
              <a:t>Zatížení na 1 patku 2,25x1,15 = </a:t>
            </a:r>
            <a:r>
              <a:rPr lang="cs-CZ" sz="1400" b="1" dirty="0">
                <a:solidFill>
                  <a:srgbClr val="C00000"/>
                </a:solidFill>
              </a:rPr>
              <a:t>2,58m2</a:t>
            </a:r>
          </a:p>
          <a:p>
            <a:pPr marL="0"/>
            <a:r>
              <a:rPr lang="cs-CZ" sz="1400" b="1" dirty="0"/>
              <a:t>Zatížení sněhem II oblast ...</a:t>
            </a:r>
            <a:r>
              <a:rPr lang="cs-CZ" sz="1400" b="1" dirty="0">
                <a:solidFill>
                  <a:srgbClr val="C00000"/>
                </a:solidFill>
              </a:rPr>
              <a:t>100 kg/m2</a:t>
            </a:r>
          </a:p>
          <a:p>
            <a:pPr marL="0"/>
            <a:r>
              <a:rPr lang="cs-CZ" sz="1400" b="1" dirty="0"/>
              <a:t>Zatížení stálé …</a:t>
            </a:r>
            <a:r>
              <a:rPr lang="cs-CZ" sz="1400" b="1" dirty="0">
                <a:solidFill>
                  <a:srgbClr val="C00000"/>
                </a:solidFill>
              </a:rPr>
              <a:t>30 kg/m2</a:t>
            </a:r>
          </a:p>
          <a:p>
            <a:pPr marL="0"/>
            <a:r>
              <a:rPr lang="cs-CZ" sz="1400" b="1" dirty="0"/>
              <a:t>Balastní zatížení …</a:t>
            </a:r>
            <a:r>
              <a:rPr lang="cs-CZ" sz="1400" b="1" dirty="0">
                <a:solidFill>
                  <a:srgbClr val="C00000"/>
                </a:solidFill>
              </a:rPr>
              <a:t>50 kg/m2</a:t>
            </a:r>
          </a:p>
          <a:p>
            <a:pPr marL="0"/>
            <a:r>
              <a:rPr lang="cs-CZ" sz="1400" b="1" dirty="0"/>
              <a:t>CELKEM…</a:t>
            </a:r>
            <a:r>
              <a:rPr lang="cs-CZ" sz="1400" b="1" dirty="0">
                <a:solidFill>
                  <a:srgbClr val="C00000"/>
                </a:solidFill>
              </a:rPr>
              <a:t>180 kg/m2</a:t>
            </a:r>
          </a:p>
          <a:p>
            <a:pPr marL="0"/>
            <a:r>
              <a:rPr lang="cs-CZ" sz="1400" b="1" dirty="0"/>
              <a:t>CELKEM patka</a:t>
            </a:r>
            <a:r>
              <a:rPr lang="cs-CZ" sz="1400" b="1" dirty="0">
                <a:solidFill>
                  <a:srgbClr val="C00000"/>
                </a:solidFill>
              </a:rPr>
              <a:t>…</a:t>
            </a:r>
            <a:r>
              <a:rPr lang="cs-CZ" sz="1400" b="1" dirty="0"/>
              <a:t>180 x 2,58 = </a:t>
            </a:r>
            <a:r>
              <a:rPr lang="cs-CZ" sz="1400" b="1" dirty="0">
                <a:solidFill>
                  <a:srgbClr val="C00000"/>
                </a:solidFill>
              </a:rPr>
              <a:t>464 kg/patka </a:t>
            </a:r>
          </a:p>
          <a:p>
            <a:pPr marL="0"/>
            <a:endParaRPr lang="cs-CZ" sz="1400" b="1" dirty="0">
              <a:solidFill>
                <a:srgbClr val="C00000"/>
              </a:solidFill>
            </a:endParaRPr>
          </a:p>
          <a:p>
            <a:pPr marL="0"/>
            <a:r>
              <a:rPr lang="cs-CZ" sz="1400" b="1" dirty="0">
                <a:solidFill>
                  <a:srgbClr val="00B050"/>
                </a:solidFill>
              </a:rPr>
              <a:t>Isover EPS 150…CS(10)150…</a:t>
            </a:r>
            <a:r>
              <a:rPr lang="cs-CZ" sz="1400" b="1" dirty="0">
                <a:solidFill>
                  <a:srgbClr val="C00000"/>
                </a:solidFill>
              </a:rPr>
              <a:t>150</a:t>
            </a:r>
            <a:r>
              <a:rPr lang="cs-CZ" sz="1400" b="1" dirty="0">
                <a:solidFill>
                  <a:srgbClr val="00B050"/>
                </a:solidFill>
              </a:rPr>
              <a:t> kPa</a:t>
            </a:r>
          </a:p>
          <a:p>
            <a:pPr marL="0"/>
            <a:r>
              <a:rPr lang="cs-CZ" sz="1400" b="1" dirty="0">
                <a:solidFill>
                  <a:srgbClr val="00B050"/>
                </a:solidFill>
              </a:rPr>
              <a:t>Plošné zatížení …20%  CS(10)…30 kPa</a:t>
            </a:r>
          </a:p>
          <a:p>
            <a:pPr marL="0"/>
            <a:r>
              <a:rPr lang="cs-CZ" sz="1400" b="1" dirty="0">
                <a:solidFill>
                  <a:srgbClr val="00B050"/>
                </a:solidFill>
              </a:rPr>
              <a:t>Bodové a liniové zatížení …</a:t>
            </a:r>
            <a:r>
              <a:rPr lang="cs-CZ" sz="1400" b="1" dirty="0">
                <a:solidFill>
                  <a:srgbClr val="C00000"/>
                </a:solidFill>
              </a:rPr>
              <a:t>40%</a:t>
            </a:r>
            <a:r>
              <a:rPr lang="cs-CZ" sz="1400" b="1" dirty="0">
                <a:solidFill>
                  <a:srgbClr val="00B050"/>
                </a:solidFill>
              </a:rPr>
              <a:t> CS(10)…</a:t>
            </a:r>
            <a:r>
              <a:rPr lang="cs-CZ" sz="1400" b="1" dirty="0">
                <a:solidFill>
                  <a:srgbClr val="C00000"/>
                </a:solidFill>
              </a:rPr>
              <a:t>60</a:t>
            </a:r>
            <a:r>
              <a:rPr lang="cs-CZ" sz="1400" b="1" dirty="0">
                <a:solidFill>
                  <a:srgbClr val="00B050"/>
                </a:solidFill>
              </a:rPr>
              <a:t> kPa</a:t>
            </a:r>
          </a:p>
          <a:p>
            <a:pPr marL="0"/>
            <a:r>
              <a:rPr lang="cs-CZ" sz="1400" b="1" dirty="0">
                <a:solidFill>
                  <a:srgbClr val="00B050"/>
                </a:solidFill>
              </a:rPr>
              <a:t>1 patka K2 unese …6000x0,38x0,075= </a:t>
            </a:r>
            <a:r>
              <a:rPr lang="cs-CZ" sz="1400" b="1" dirty="0">
                <a:solidFill>
                  <a:srgbClr val="C00000"/>
                </a:solidFill>
              </a:rPr>
              <a:t>171 kg</a:t>
            </a:r>
          </a:p>
          <a:p>
            <a:pPr marL="0"/>
            <a:r>
              <a:rPr lang="cs-CZ" sz="1400" b="1" dirty="0">
                <a:solidFill>
                  <a:srgbClr val="C00000"/>
                </a:solidFill>
              </a:rPr>
              <a:t>Máme tu problém!!!</a:t>
            </a:r>
            <a:endParaRPr lang="cs-CZ" b="1" dirty="0">
              <a:solidFill>
                <a:srgbClr val="C00000"/>
              </a:solidFill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C9F4F662-9F58-3623-E2B4-7AD76F6EEE99}"/>
              </a:ext>
            </a:extLst>
          </p:cNvPr>
          <p:cNvSpPr txBox="1"/>
          <p:nvPr/>
        </p:nvSpPr>
        <p:spPr>
          <a:xfrm>
            <a:off x="4565468" y="4497769"/>
            <a:ext cx="44021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400" dirty="0"/>
              <a:t>Patky systému </a:t>
            </a:r>
            <a:r>
              <a:rPr lang="cs-CZ" sz="1400" b="1" dirty="0">
                <a:solidFill>
                  <a:srgbClr val="C00000"/>
                </a:solidFill>
              </a:rPr>
              <a:t>K2 jsou rozměru 75x380 mm</a:t>
            </a:r>
            <a:r>
              <a:rPr lang="cs-CZ" sz="1400" dirty="0"/>
              <a:t>.</a:t>
            </a:r>
          </a:p>
          <a:p>
            <a:r>
              <a:rPr lang="cs-CZ" sz="1400" b="1" dirty="0">
                <a:solidFill>
                  <a:srgbClr val="8FAD15"/>
                </a:solidFill>
              </a:rPr>
              <a:t>Uprostřed FVE 1 patka nese cca 2,58 m2.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AE4F281B-848D-B31D-B5B0-53F25A3ABA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6559" y="798998"/>
            <a:ext cx="2329079" cy="1813760"/>
          </a:xfrm>
          <a:prstGeom prst="rect">
            <a:avLst/>
          </a:prstGeom>
        </p:spPr>
      </p:pic>
      <p:pic>
        <p:nvPicPr>
          <p:cNvPr id="16" name="Obrázek 15">
            <a:extLst>
              <a:ext uri="{FF2B5EF4-FFF2-40B4-BE49-F238E27FC236}">
                <a16:creationId xmlns:a16="http://schemas.microsoft.com/office/drawing/2014/main" id="{414028DA-85ED-969C-967C-DAD5F58971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5614" y="867698"/>
            <a:ext cx="1880646" cy="138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243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/>
              <a:t>Dlouhodobá zatížitelnost </a:t>
            </a:r>
            <a:r>
              <a:rPr lang="cs-CZ" sz="2400" dirty="0" err="1"/>
              <a:t>eps</a:t>
            </a:r>
            <a:r>
              <a:rPr lang="cs-CZ" sz="2400" dirty="0"/>
              <a:t> a </a:t>
            </a:r>
            <a:r>
              <a:rPr lang="cs-CZ" sz="2400" dirty="0" err="1"/>
              <a:t>mw</a:t>
            </a:r>
            <a:r>
              <a:rPr lang="cs-CZ" sz="2400" dirty="0"/>
              <a:t> 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3" name="Obrázek 1">
            <a:extLst>
              <a:ext uri="{FF2B5EF4-FFF2-40B4-BE49-F238E27FC236}">
                <a16:creationId xmlns:a16="http://schemas.microsoft.com/office/drawing/2014/main" id="{322C1B38-1EDB-EEF4-F119-339E4DE9F3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53" y="605017"/>
            <a:ext cx="8529603" cy="365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id="{58CEF4B3-2793-0878-25B6-A74491C8C5D3}"/>
              </a:ext>
            </a:extLst>
          </p:cNvPr>
          <p:cNvSpPr/>
          <p:nvPr/>
        </p:nvSpPr>
        <p:spPr>
          <a:xfrm>
            <a:off x="2690949" y="1073561"/>
            <a:ext cx="732895" cy="3181982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D4944C33-AD54-0B20-D0BC-C5B2C6641ACE}"/>
              </a:ext>
            </a:extLst>
          </p:cNvPr>
          <p:cNvSpPr/>
          <p:nvPr/>
        </p:nvSpPr>
        <p:spPr>
          <a:xfrm>
            <a:off x="4734026" y="1073561"/>
            <a:ext cx="986132" cy="3181982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Espace réservé du texte 8">
            <a:extLst>
              <a:ext uri="{FF2B5EF4-FFF2-40B4-BE49-F238E27FC236}">
                <a16:creationId xmlns:a16="http://schemas.microsoft.com/office/drawing/2014/main" id="{D257641E-D63F-B0CE-1B5C-69D85C661AEF}"/>
              </a:ext>
            </a:extLst>
          </p:cNvPr>
          <p:cNvSpPr txBox="1">
            <a:spLocks/>
          </p:cNvSpPr>
          <p:nvPr/>
        </p:nvSpPr>
        <p:spPr>
          <a:xfrm>
            <a:off x="105617" y="4394483"/>
            <a:ext cx="8533387" cy="288000"/>
          </a:xfrm>
          <a:prstGeom prst="rect">
            <a:avLst/>
          </a:prstGeom>
        </p:spPr>
        <p:txBody>
          <a:bodyPr/>
          <a:lstStyle>
            <a:lvl1pPr marL="180975" marR="0" indent="-180975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sz="17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6575" marR="0" indent="-1778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●"/>
              <a:tabLst/>
              <a:defRPr sz="15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lang="fr-FR" sz="13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60000" marR="0" indent="-1143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●"/>
              <a:tabLst/>
              <a:defRPr sz="13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None/>
            </a:pPr>
            <a:r>
              <a:rPr lang="cs-CZ" b="1" dirty="0">
                <a:solidFill>
                  <a:srgbClr val="00B050"/>
                </a:solidFill>
              </a:rPr>
              <a:t>Důsledek: </a:t>
            </a:r>
            <a:r>
              <a:rPr lang="cs-CZ" b="1" dirty="0">
                <a:solidFill>
                  <a:srgbClr val="C00000"/>
                </a:solidFill>
              </a:rPr>
              <a:t>Plochy patek je třeba oproti současnosti výrazně zvětšit. 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459833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9B4BF-C3B3-5AD9-91C0-0D8743E28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4451752-3DCF-B19A-BB7B-25185CDBA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/>
              <a:t>Systém k2 řešení má, jen se v praxi nepoužívá!!!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77EE15A1-5594-EE5D-96D8-07306FE434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7" name="Espace réservé du texte 8">
            <a:extLst>
              <a:ext uri="{FF2B5EF4-FFF2-40B4-BE49-F238E27FC236}">
                <a16:creationId xmlns:a16="http://schemas.microsoft.com/office/drawing/2014/main" id="{1E7E604E-4E07-1DF4-3D5B-85EBE0352924}"/>
              </a:ext>
            </a:extLst>
          </p:cNvPr>
          <p:cNvSpPr txBox="1">
            <a:spLocks/>
          </p:cNvSpPr>
          <p:nvPr/>
        </p:nvSpPr>
        <p:spPr>
          <a:xfrm>
            <a:off x="105617" y="4394483"/>
            <a:ext cx="8533387" cy="288000"/>
          </a:xfrm>
          <a:prstGeom prst="rect">
            <a:avLst/>
          </a:prstGeom>
        </p:spPr>
        <p:txBody>
          <a:bodyPr/>
          <a:lstStyle>
            <a:lvl1pPr marL="180975" marR="0" indent="-180975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sz="17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6575" marR="0" indent="-1778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●"/>
              <a:tabLst/>
              <a:defRPr sz="15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lang="fr-FR" sz="13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60000" marR="0" indent="-1143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●"/>
              <a:tabLst/>
              <a:defRPr sz="13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None/>
            </a:pPr>
            <a:r>
              <a:rPr lang="cs-CZ" b="1" dirty="0">
                <a:solidFill>
                  <a:srgbClr val="00B050"/>
                </a:solidFill>
              </a:rPr>
              <a:t>Důsledek: </a:t>
            </a:r>
            <a:r>
              <a:rPr lang="cs-CZ" b="1" dirty="0">
                <a:solidFill>
                  <a:srgbClr val="C00000"/>
                </a:solidFill>
              </a:rPr>
              <a:t>Plochy patek je třeba oproti současnosti výrazně zvětšit. </a:t>
            </a:r>
            <a:endParaRPr lang="en-US" b="1" dirty="0">
              <a:solidFill>
                <a:srgbClr val="C00000"/>
              </a:solidFill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B921A88B-674B-6466-305F-DF04F634EE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566" y="618870"/>
            <a:ext cx="2756515" cy="3777832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144CE34C-FFC2-544B-6E6A-2BF7BAA0E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3921" y="615438"/>
            <a:ext cx="2810257" cy="3784695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901D1058-B854-6482-14BC-C05E69084E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9715" y="996900"/>
            <a:ext cx="3741664" cy="209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79847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29"/>
          </p:nvPr>
        </p:nvSpPr>
        <p:spPr>
          <a:xfrm>
            <a:off x="484256" y="4816442"/>
            <a:ext cx="4660238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30"/>
          </p:nvPr>
        </p:nvSpPr>
        <p:spPr>
          <a:xfrm>
            <a:off x="14301" y="4816180"/>
            <a:ext cx="504000" cy="123111"/>
          </a:xfrm>
        </p:spPr>
        <p:txBody>
          <a:bodyPr/>
          <a:lstStyle/>
          <a:p>
            <a:fld id="{DD52E7CA-940C-4B6E-9E73-0245BA95FC91}" type="slidenum">
              <a:rPr lang="fr-FR" smtClean="0"/>
              <a:pPr/>
              <a:t>13</a:t>
            </a:fld>
            <a:r>
              <a:rPr lang="fr-FR"/>
              <a:t> /</a:t>
            </a:r>
            <a:endParaRPr lang="fr-FR" dirty="0"/>
          </a:p>
        </p:txBody>
      </p:sp>
      <p:sp>
        <p:nvSpPr>
          <p:cNvPr id="6" name="Titre 12">
            <a:extLst>
              <a:ext uri="{FF2B5EF4-FFF2-40B4-BE49-F238E27FC236}">
                <a16:creationId xmlns:a16="http://schemas.microsoft.com/office/drawing/2014/main" id="{535D16EC-4C79-504A-FFCE-834B8D678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327025"/>
            <a:ext cx="7974012" cy="307975"/>
          </a:xfrm>
        </p:spPr>
        <p:txBody>
          <a:bodyPr/>
          <a:lstStyle/>
          <a:p>
            <a:r>
              <a:rPr lang="cs-CZ" noProof="0" dirty="0"/>
              <a:t>Fotovoltaika a požární bezpečnost</a:t>
            </a:r>
            <a:endParaRPr lang="en-US" noProof="0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ABF99DD-F61B-0AA5-1DD3-39429258AD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363" y="698024"/>
            <a:ext cx="6425797" cy="4054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229881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29"/>
          </p:nvPr>
        </p:nvSpPr>
        <p:spPr>
          <a:xfrm>
            <a:off x="484256" y="4816442"/>
            <a:ext cx="4660238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30"/>
          </p:nvPr>
        </p:nvSpPr>
        <p:spPr>
          <a:xfrm>
            <a:off x="14301" y="4816180"/>
            <a:ext cx="504000" cy="123111"/>
          </a:xfrm>
        </p:spPr>
        <p:txBody>
          <a:bodyPr/>
          <a:lstStyle/>
          <a:p>
            <a:fld id="{DD52E7CA-940C-4B6E-9E73-0245BA95FC91}" type="slidenum">
              <a:rPr lang="fr-FR" smtClean="0"/>
              <a:pPr/>
              <a:t>14</a:t>
            </a:fld>
            <a:r>
              <a:rPr lang="fr-FR"/>
              <a:t> /</a:t>
            </a:r>
            <a:endParaRPr lang="fr-FR" dirty="0"/>
          </a:p>
        </p:txBody>
      </p:sp>
      <p:sp>
        <p:nvSpPr>
          <p:cNvPr id="6" name="Titre 12">
            <a:extLst>
              <a:ext uri="{FF2B5EF4-FFF2-40B4-BE49-F238E27FC236}">
                <a16:creationId xmlns:a16="http://schemas.microsoft.com/office/drawing/2014/main" id="{535D16EC-4C79-504A-FFCE-834B8D678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327025"/>
            <a:ext cx="7821824" cy="615553"/>
          </a:xfrm>
        </p:spPr>
        <p:txBody>
          <a:bodyPr/>
          <a:lstStyle/>
          <a:p>
            <a:r>
              <a:rPr lang="cs-CZ" noProof="0" dirty="0"/>
              <a:t>Fotovoltaika a požární bezpečnost </a:t>
            </a:r>
            <a:br>
              <a:rPr lang="cs-CZ" noProof="0" dirty="0"/>
            </a:br>
            <a:r>
              <a:rPr lang="cs-CZ" noProof="0" dirty="0"/>
              <a:t>dle </a:t>
            </a:r>
            <a:r>
              <a:rPr lang="cs-CZ" noProof="0" dirty="0">
                <a:solidFill>
                  <a:srgbClr val="C00000"/>
                </a:solidFill>
              </a:rPr>
              <a:t>ČSN P 73 0847 </a:t>
            </a:r>
            <a:r>
              <a:rPr lang="cs-CZ" noProof="0" dirty="0"/>
              <a:t> z 05/2024</a:t>
            </a:r>
            <a:endParaRPr lang="en-US" noProof="0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39241DAD-DCC8-53CE-CE3B-D4B89683E7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6" y="1239520"/>
            <a:ext cx="6153962" cy="3351889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0062963A-5756-A342-14C0-745628F324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9449" y="588335"/>
            <a:ext cx="2783090" cy="400307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515691659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Fotovoltaika a požární bezpečnost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29"/>
          </p:nvPr>
        </p:nvSpPr>
        <p:spPr>
          <a:xfrm>
            <a:off x="484255" y="4839191"/>
            <a:ext cx="4596628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30"/>
          </p:nvPr>
        </p:nvSpPr>
        <p:spPr>
          <a:xfrm>
            <a:off x="14301" y="4816180"/>
            <a:ext cx="504000" cy="123111"/>
          </a:xfrm>
        </p:spPr>
        <p:txBody>
          <a:bodyPr/>
          <a:lstStyle/>
          <a:p>
            <a:fld id="{DD52E7CA-940C-4B6E-9E73-0245BA95FC91}" type="slidenum">
              <a:rPr lang="fr-FR" smtClean="0"/>
              <a:pPr/>
              <a:t>15</a:t>
            </a:fld>
            <a:r>
              <a:rPr lang="fr-FR"/>
              <a:t> /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359999" y="768411"/>
            <a:ext cx="8533387" cy="288000"/>
          </a:xfrm>
        </p:spPr>
        <p:txBody>
          <a:bodyPr/>
          <a:lstStyle/>
          <a:p>
            <a:r>
              <a:rPr lang="cs-CZ" dirty="0"/>
              <a:t>Současný požadavek B ROOF (t3) </a:t>
            </a:r>
            <a:r>
              <a:rPr lang="cs-CZ" dirty="0">
                <a:solidFill>
                  <a:srgbClr val="CE1431"/>
                </a:solidFill>
              </a:rPr>
              <a:t>PRO VĚTŠINU plochých STŘECH</a:t>
            </a:r>
            <a:r>
              <a:rPr lang="cs-CZ" dirty="0"/>
              <a:t>. </a:t>
            </a:r>
            <a:endParaRPr lang="en-US" b="1" noProof="0" dirty="0">
              <a:solidFill>
                <a:srgbClr val="C00000"/>
              </a:solidFill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E245469E-AB31-4C43-92EB-680E68B643F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95" t="12355" r="20347" b="9720"/>
          <a:stretch/>
        </p:blipFill>
        <p:spPr>
          <a:xfrm>
            <a:off x="360000" y="1377376"/>
            <a:ext cx="4830305" cy="3315694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30037A02-1E93-6E98-8E25-DA62912C7E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2139" y="1172807"/>
            <a:ext cx="3083383" cy="3430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31841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B2C80A05-E567-51BE-8EE5-5F45F95598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14" y="558550"/>
            <a:ext cx="2387384" cy="1522705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 err="1"/>
              <a:t>fatrafast</a:t>
            </a:r>
            <a:r>
              <a:rPr lang="cs-CZ" sz="2400" dirty="0"/>
              <a:t>: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7258" y="4892726"/>
            <a:ext cx="4325993" cy="123111"/>
          </a:xfrm>
        </p:spPr>
        <p:txBody>
          <a:bodyPr/>
          <a:lstStyle/>
          <a:p>
            <a:pPr algn="l"/>
            <a:r>
              <a:rPr lang="cs-CZ" b="1" dirty="0"/>
              <a:t>FOTOVOLTAIKA A PLOCHÉ STŘECHY - ČERVENÝ KOHOUT 2026</a:t>
            </a:r>
            <a:endParaRPr lang="en-GB" b="1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28F17698-E8D0-D290-9692-9E66737EBA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2412" y="1817489"/>
            <a:ext cx="3077499" cy="1890117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0A5D32D4-647E-5429-5720-AEF2CEF25F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760" y="1817489"/>
            <a:ext cx="4325993" cy="2961780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BFF747D7-6500-4A9F-3711-CDD5D4B126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11792" y="176696"/>
            <a:ext cx="5963482" cy="1505160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B8F4EC02-6946-18B1-B52B-C2C5C5110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175" y="1820812"/>
            <a:ext cx="2078665" cy="1304693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9D891B10-94AC-EA6A-0877-24EFDF6FA1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61647" y="2895450"/>
            <a:ext cx="2919514" cy="218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77839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 err="1"/>
              <a:t>solatech</a:t>
            </a:r>
            <a:r>
              <a:rPr lang="cs-CZ" sz="2400" dirty="0"/>
              <a:t>: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44C297AB-1CCC-D971-B27C-270D9AAD6E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83364"/>
            <a:ext cx="3659874" cy="2081492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23C797F6-770F-BB45-7854-64C95AA882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238" y="2873033"/>
            <a:ext cx="2308762" cy="1844011"/>
          </a:xfrm>
          <a:prstGeom prst="rect">
            <a:avLst/>
          </a:prstGeom>
        </p:spPr>
      </p:pic>
      <p:pic>
        <p:nvPicPr>
          <p:cNvPr id="19" name="Obrázek 18">
            <a:extLst>
              <a:ext uri="{FF2B5EF4-FFF2-40B4-BE49-F238E27FC236}">
                <a16:creationId xmlns:a16="http://schemas.microsoft.com/office/drawing/2014/main" id="{12148ABD-6997-1BE4-2E85-5B2B6C15B4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4630" y="51918"/>
            <a:ext cx="6560031" cy="2779164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F7DC9541-6F13-EB07-F6C8-D30C07CE73D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251"/>
          <a:stretch/>
        </p:blipFill>
        <p:spPr>
          <a:xfrm>
            <a:off x="3664750" y="2936488"/>
            <a:ext cx="3236118" cy="1902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459827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/>
              <a:t>ALKORSOLAR: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2B486586-D239-9F94-44D9-55301FF31C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5780" y="558550"/>
            <a:ext cx="2886532" cy="397764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4AC163AF-EE81-4C6E-E0D0-04F5408B8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999" y="805135"/>
            <a:ext cx="4734586" cy="377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34123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 err="1"/>
              <a:t>Ejot</a:t>
            </a:r>
            <a:r>
              <a:rPr lang="cs-CZ" sz="2400" dirty="0"/>
              <a:t> </a:t>
            </a:r>
            <a:r>
              <a:rPr lang="cs-CZ" sz="2400" dirty="0" err="1"/>
              <a:t>ejobar</a:t>
            </a:r>
            <a:r>
              <a:rPr lang="cs-CZ" sz="2400" dirty="0"/>
              <a:t>: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A3AD4A2B-9CC8-AA95-4F41-E627F5DE47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1592" y="678180"/>
            <a:ext cx="4960992" cy="3154051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337154E5-82D2-0656-78DA-4064B20AAA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89" y="678180"/>
            <a:ext cx="3859837" cy="4107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080435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0" y="2093146"/>
            <a:ext cx="4065234" cy="1125140"/>
          </a:xfrm>
        </p:spPr>
        <p:txBody>
          <a:bodyPr/>
          <a:lstStyle/>
          <a:p>
            <a:r>
              <a:rPr lang="cs-CZ" dirty="0"/>
              <a:t>Fotovoltaické elektrárny a řada neznámých</a:t>
            </a:r>
            <a:endParaRPr lang="en-US" noProof="0" dirty="0"/>
          </a:p>
          <a:p>
            <a:r>
              <a:rPr lang="cs-CZ" dirty="0"/>
              <a:t>NOVÉ POŽADAVKY Z HLEDISKA ZATÍŽITELNOSTI PODKLADU</a:t>
            </a:r>
            <a:endParaRPr lang="en-US" noProof="0" dirty="0"/>
          </a:p>
          <a:p>
            <a:r>
              <a:rPr lang="cs-CZ" dirty="0"/>
              <a:t>FOTOVOLTAIKA A POŽÁRNÍ BEZPEČNOST</a:t>
            </a:r>
          </a:p>
          <a:p>
            <a:r>
              <a:rPr lang="cs-CZ" dirty="0"/>
              <a:t>NOVÉ SYSTÉMY A SKLADBY b </a:t>
            </a:r>
            <a:r>
              <a:rPr lang="cs-CZ" dirty="0" err="1"/>
              <a:t>roof</a:t>
            </a:r>
            <a:r>
              <a:rPr lang="cs-CZ" dirty="0"/>
              <a:t> (T3)</a:t>
            </a:r>
          </a:p>
          <a:p>
            <a:r>
              <a:rPr lang="cs-CZ" noProof="0" dirty="0"/>
              <a:t>ZÁVĚRY</a:t>
            </a:r>
          </a:p>
          <a:p>
            <a:pPr marL="0" indent="0">
              <a:buNone/>
            </a:pPr>
            <a:endParaRPr lang="cs-CZ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25"/>
          </p:nvPr>
        </p:nvSpPr>
        <p:spPr>
          <a:xfrm>
            <a:off x="484255" y="4816180"/>
            <a:ext cx="4537801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4301" y="4816180"/>
            <a:ext cx="504000" cy="123111"/>
          </a:xfrm>
        </p:spPr>
        <p:txBody>
          <a:bodyPr/>
          <a:lstStyle/>
          <a:p>
            <a:fld id="{DD52E7CA-940C-4B6E-9E73-0245BA95FC91}" type="slidenum">
              <a:rPr lang="fr-FR" smtClean="0"/>
              <a:pPr/>
              <a:t>2</a:t>
            </a:fld>
            <a:r>
              <a:rPr lang="fr-FR"/>
              <a:t> /</a:t>
            </a:r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>
          <a:xfrm>
            <a:off x="4572000" y="1678302"/>
            <a:ext cx="4065235" cy="307777"/>
          </a:xfrm>
        </p:spPr>
        <p:txBody>
          <a:bodyPr/>
          <a:lstStyle/>
          <a:p>
            <a:r>
              <a:rPr lang="cs-CZ" noProof="0" dirty="0"/>
              <a:t>obsah</a:t>
            </a:r>
            <a:endParaRPr lang="en-US" noProof="0" dirty="0"/>
          </a:p>
        </p:txBody>
      </p:sp>
      <p:pic>
        <p:nvPicPr>
          <p:cNvPr id="12" name="Zástupný symbol obrázku 11" descr="Obsah obrázku solární panel, budova, Solární energie, solární energie&#10;&#10;Obsah generovaný pomocí AI může být nesprávný.">
            <a:extLst>
              <a:ext uri="{FF2B5EF4-FFF2-40B4-BE49-F238E27FC236}">
                <a16:creationId xmlns:a16="http://schemas.microsoft.com/office/drawing/2014/main" id="{C519CD7C-881D-C465-D1DE-58110639A1F3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3"/>
          <a:srcRect l="11742" r="11742"/>
          <a:stretch>
            <a:fillRect/>
          </a:stretch>
        </p:blipFill>
        <p:spPr>
          <a:xfrm>
            <a:off x="402956" y="418454"/>
            <a:ext cx="3289925" cy="3963046"/>
          </a:xfrm>
        </p:spPr>
      </p:pic>
    </p:spTree>
    <p:extLst>
      <p:ext uri="{BB962C8B-B14F-4D97-AF65-F5344CB8AC3E}">
        <p14:creationId xmlns:p14="http://schemas.microsoft.com/office/powerpoint/2010/main" val="555870804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/>
              <a:t>Isover extra hard (XH) – novinka pro </a:t>
            </a:r>
            <a:r>
              <a:rPr lang="cs-CZ" sz="2400" dirty="0" err="1"/>
              <a:t>pv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E27210C-14C5-2986-EE0A-16EADEAD70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031" y="623338"/>
            <a:ext cx="2900856" cy="4188505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E03AC137-0C9E-4C6F-1F27-28690631BE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1918" y="623338"/>
            <a:ext cx="5723251" cy="4055280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1238352340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5"/>
          </p:nvPr>
        </p:nvSpPr>
        <p:spPr>
          <a:xfrm>
            <a:off x="484255" y="4806850"/>
            <a:ext cx="4477359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36"/>
          </p:nvPr>
        </p:nvSpPr>
        <p:spPr>
          <a:xfrm>
            <a:off x="14301" y="4816180"/>
            <a:ext cx="504000" cy="123111"/>
          </a:xfrm>
        </p:spPr>
        <p:txBody>
          <a:bodyPr/>
          <a:lstStyle/>
          <a:p>
            <a:fld id="{DD52E7CA-940C-4B6E-9E73-0245BA95FC91}" type="slidenum">
              <a:rPr lang="fr-FR" smtClean="0"/>
              <a:pPr/>
              <a:t>21</a:t>
            </a:fld>
            <a:r>
              <a:rPr lang="fr-FR"/>
              <a:t> /</a:t>
            </a:r>
            <a:endParaRPr lang="fr-FR" dirty="0"/>
          </a:p>
        </p:txBody>
      </p:sp>
      <p:sp>
        <p:nvSpPr>
          <p:cNvPr id="13" name="Titr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Fotovoltaika  a </a:t>
            </a:r>
            <a:r>
              <a:rPr lang="cs-CZ" noProof="0" dirty="0">
                <a:solidFill>
                  <a:srgbClr val="8FAD15"/>
                </a:solidFill>
              </a:rPr>
              <a:t>ISOVER</a:t>
            </a:r>
            <a:r>
              <a:rPr lang="cs-CZ" noProof="0" dirty="0"/>
              <a:t> </a:t>
            </a:r>
            <a:r>
              <a:rPr lang="cs-CZ" noProof="0" dirty="0">
                <a:solidFill>
                  <a:srgbClr val="C00000"/>
                </a:solidFill>
              </a:rPr>
              <a:t>XH</a:t>
            </a:r>
            <a:r>
              <a:rPr lang="cs-CZ" noProof="0" dirty="0"/>
              <a:t> (E</a:t>
            </a:r>
            <a:r>
              <a:rPr lang="cs-CZ" noProof="0" dirty="0">
                <a:solidFill>
                  <a:srgbClr val="C00000"/>
                </a:solidFill>
              </a:rPr>
              <a:t>X</a:t>
            </a:r>
            <a:r>
              <a:rPr lang="cs-CZ" noProof="0" dirty="0"/>
              <a:t>TRA </a:t>
            </a:r>
            <a:r>
              <a:rPr lang="cs-CZ" noProof="0" dirty="0">
                <a:solidFill>
                  <a:srgbClr val="C00000"/>
                </a:solidFill>
              </a:rPr>
              <a:t>H</a:t>
            </a:r>
            <a:r>
              <a:rPr lang="cs-CZ" noProof="0" dirty="0"/>
              <a:t>ARD)</a:t>
            </a:r>
            <a:endParaRPr lang="en-US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cs-CZ" noProof="0" dirty="0"/>
              <a:t>Novinka pro solární systémy plochých střech</a:t>
            </a:r>
            <a:endParaRPr lang="en-US" noProof="0" dirty="0"/>
          </a:p>
        </p:txBody>
      </p:sp>
      <p:sp>
        <p:nvSpPr>
          <p:cNvPr id="14" name="Espace réservé du texte 9">
            <a:extLst>
              <a:ext uri="{FF2B5EF4-FFF2-40B4-BE49-F238E27FC236}">
                <a16:creationId xmlns:a16="http://schemas.microsoft.com/office/drawing/2014/main" id="{F88571BC-DD81-4EC3-AEFB-DD396C36CEAF}"/>
              </a:ext>
            </a:extLst>
          </p:cNvPr>
          <p:cNvSpPr txBox="1">
            <a:spLocks/>
          </p:cNvSpPr>
          <p:nvPr/>
        </p:nvSpPr>
        <p:spPr>
          <a:xfrm>
            <a:off x="297294" y="1124347"/>
            <a:ext cx="4748840" cy="1171787"/>
          </a:xfrm>
          <a:prstGeom prst="rect">
            <a:avLst/>
          </a:prstGeom>
        </p:spPr>
        <p:txBody>
          <a:bodyPr/>
          <a:lstStyle>
            <a:lvl1pPr marL="180975" marR="0" indent="-180975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●"/>
              <a:tabLst/>
              <a:defRPr sz="17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6575" marR="0" indent="-1778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/>
              <a:defRPr sz="15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●"/>
              <a:tabLst/>
              <a:defRPr lang="fr-FR" sz="13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●"/>
              <a:tabLst/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60000" marR="0" indent="-1143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●"/>
              <a:tabLst/>
              <a:defRPr sz="13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None/>
            </a:pPr>
            <a:r>
              <a:rPr lang="cs-CZ" b="1" dirty="0">
                <a:solidFill>
                  <a:srgbClr val="8FAD15"/>
                </a:solidFill>
              </a:rPr>
              <a:t>ISOVER</a:t>
            </a:r>
            <a:r>
              <a:rPr lang="cs-CZ" b="1" dirty="0">
                <a:solidFill>
                  <a:srgbClr val="C00000"/>
                </a:solidFill>
              </a:rPr>
              <a:t> </a:t>
            </a:r>
            <a:r>
              <a:rPr lang="cs-CZ" b="1" dirty="0">
                <a:solidFill>
                  <a:srgbClr val="8FAD15"/>
                </a:solidFill>
              </a:rPr>
              <a:t>XH …….nejvýkonnější na trhu, ideální pod FVE</a:t>
            </a:r>
          </a:p>
          <a:p>
            <a:r>
              <a:rPr lang="cs-CZ" dirty="0"/>
              <a:t>Napětí v tlaku při 10% </a:t>
            </a:r>
            <a:r>
              <a:rPr lang="cs-CZ" dirty="0" err="1"/>
              <a:t>def</a:t>
            </a:r>
            <a:r>
              <a:rPr lang="cs-CZ" dirty="0"/>
              <a:t>…..</a:t>
            </a:r>
            <a:r>
              <a:rPr lang="cs-CZ" b="1" dirty="0">
                <a:solidFill>
                  <a:srgbClr val="C00000"/>
                </a:solidFill>
              </a:rPr>
              <a:t>100 kPa</a:t>
            </a:r>
          </a:p>
          <a:p>
            <a:r>
              <a:rPr lang="cs-CZ" dirty="0"/>
              <a:t>Bodová zatížitelnost </a:t>
            </a:r>
            <a:r>
              <a:rPr lang="cs-CZ" b="1" dirty="0">
                <a:solidFill>
                  <a:srgbClr val="C00000"/>
                </a:solidFill>
              </a:rPr>
              <a:t>1000 N</a:t>
            </a:r>
          </a:p>
          <a:p>
            <a:endParaRPr lang="cs-CZ" b="1" dirty="0">
              <a:solidFill>
                <a:srgbClr val="C00000"/>
              </a:solidFill>
            </a:endParaRPr>
          </a:p>
          <a:p>
            <a:r>
              <a:rPr lang="cs-CZ" dirty="0"/>
              <a:t>Ideální deska z hlediska </a:t>
            </a:r>
            <a:r>
              <a:rPr lang="cs-CZ" dirty="0">
                <a:solidFill>
                  <a:srgbClr val="C00000"/>
                </a:solidFill>
              </a:rPr>
              <a:t>požární bezpečnosti.</a:t>
            </a:r>
          </a:p>
          <a:p>
            <a:r>
              <a:rPr lang="cs-CZ" dirty="0"/>
              <a:t>Ideální deska z hlediska </a:t>
            </a:r>
            <a:r>
              <a:rPr lang="cs-CZ" dirty="0">
                <a:solidFill>
                  <a:srgbClr val="C00000"/>
                </a:solidFill>
              </a:rPr>
              <a:t>roznesení zatížení.</a:t>
            </a:r>
          </a:p>
          <a:p>
            <a:r>
              <a:rPr lang="cs-CZ" dirty="0"/>
              <a:t>Ideální deska z hlediska </a:t>
            </a:r>
            <a:r>
              <a:rPr lang="cs-CZ" dirty="0">
                <a:solidFill>
                  <a:srgbClr val="C00000"/>
                </a:solidFill>
              </a:rPr>
              <a:t>bodového zatížení.</a:t>
            </a:r>
          </a:p>
          <a:p>
            <a:r>
              <a:rPr lang="cs-CZ" dirty="0"/>
              <a:t>Ideální deska z hlediska </a:t>
            </a:r>
            <a:r>
              <a:rPr lang="cs-CZ" dirty="0">
                <a:solidFill>
                  <a:srgbClr val="C00000"/>
                </a:solidFill>
              </a:rPr>
              <a:t>odolnosti proti rozšlapání.</a:t>
            </a:r>
            <a:endParaRPr lang="en-US" dirty="0">
              <a:solidFill>
                <a:srgbClr val="C00000"/>
              </a:solidFill>
            </a:endParaRPr>
          </a:p>
          <a:p>
            <a:endParaRPr lang="en-US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5FD6641E-2BD0-A22C-CF79-A27E131AC5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8268" y="399912"/>
            <a:ext cx="2963328" cy="42440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3447C459-C7A3-2662-7D4E-EA68BA24F7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3396" y="3902608"/>
            <a:ext cx="1327610" cy="1171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8041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/>
              <a:t>Isover </a:t>
            </a:r>
            <a:r>
              <a:rPr lang="cs-CZ" sz="2400" dirty="0" err="1"/>
              <a:t>eps</a:t>
            </a:r>
            <a:r>
              <a:rPr lang="cs-CZ" sz="2400" dirty="0"/>
              <a:t> 250 – novinka pro </a:t>
            </a:r>
            <a:r>
              <a:rPr lang="cs-CZ" sz="2400" dirty="0" err="1"/>
              <a:t>pv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90DC6332-6907-7A68-FAF0-038285ACD2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6256" y="552891"/>
            <a:ext cx="2094131" cy="426148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6A610816-DADE-D96B-5246-2BF0091D43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1959" y="549704"/>
            <a:ext cx="4057557" cy="426467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22BAC6C2-5771-9B54-6BF9-8509CDC85E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1087" y="549704"/>
            <a:ext cx="2037775" cy="426467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045181829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29"/>
          </p:nvPr>
        </p:nvSpPr>
        <p:spPr>
          <a:xfrm>
            <a:off x="484255" y="4798690"/>
            <a:ext cx="4644335" cy="123111"/>
          </a:xfrm>
        </p:spPr>
        <p:txBody>
          <a:bodyPr/>
          <a:lstStyle/>
          <a:p>
            <a:pPr algn="l">
              <a:defRPr/>
            </a:pPr>
            <a:r>
              <a:rPr lang="cs-CZ" dirty="0"/>
              <a:t>ISOVER pro FOR ARCH 2025 – PV pro ploché střechy z hlediska tepelných izolací  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30"/>
          </p:nvPr>
        </p:nvSpPr>
        <p:spPr>
          <a:xfrm>
            <a:off x="14301" y="4816180"/>
            <a:ext cx="504000" cy="123111"/>
          </a:xfrm>
        </p:spPr>
        <p:txBody>
          <a:bodyPr/>
          <a:lstStyle/>
          <a:p>
            <a:fld id="{DD52E7CA-940C-4B6E-9E73-0245BA95FC91}" type="slidenum">
              <a:rPr lang="fr-FR" smtClean="0"/>
              <a:pPr/>
              <a:t>23</a:t>
            </a:fld>
            <a:r>
              <a:rPr lang="fr-FR"/>
              <a:t> /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Nové skladby plochých střech pro </a:t>
            </a:r>
            <a:r>
              <a:rPr lang="cs-CZ" dirty="0">
                <a:solidFill>
                  <a:srgbClr val="C00000"/>
                </a:solidFill>
              </a:rPr>
              <a:t>PV</a:t>
            </a:r>
            <a:r>
              <a:rPr lang="cs-CZ" dirty="0"/>
              <a:t> </a:t>
            </a:r>
          </a:p>
          <a:p>
            <a:r>
              <a:rPr lang="cs-CZ" b="1" dirty="0">
                <a:solidFill>
                  <a:srgbClr val="C00000"/>
                </a:solidFill>
              </a:rPr>
              <a:t>REI 30 - REI60 DP1</a:t>
            </a:r>
            <a:endParaRPr lang="en-US" b="1" noProof="0" dirty="0">
              <a:solidFill>
                <a:srgbClr val="C00000"/>
              </a:solidFill>
            </a:endParaRPr>
          </a:p>
        </p:txBody>
      </p:sp>
      <p:sp>
        <p:nvSpPr>
          <p:cNvPr id="6" name="Titre 12">
            <a:extLst>
              <a:ext uri="{FF2B5EF4-FFF2-40B4-BE49-F238E27FC236}">
                <a16:creationId xmlns:a16="http://schemas.microsoft.com/office/drawing/2014/main" id="{535D16EC-4C79-504A-FFCE-834B8D678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327025"/>
            <a:ext cx="7974012" cy="307777"/>
          </a:xfrm>
        </p:spPr>
        <p:txBody>
          <a:bodyPr/>
          <a:lstStyle/>
          <a:p>
            <a:r>
              <a:rPr lang="cs-CZ" noProof="0" dirty="0"/>
              <a:t>Fotovoltaika a nové skladby plochých střech</a:t>
            </a:r>
            <a:endParaRPr lang="en-US" noProof="0" dirty="0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CCA9186-C921-33F4-524D-D552FD07DC12}"/>
              </a:ext>
            </a:extLst>
          </p:cNvPr>
          <p:cNvSpPr txBox="1"/>
          <p:nvPr/>
        </p:nvSpPr>
        <p:spPr>
          <a:xfrm>
            <a:off x="1530432" y="1263335"/>
            <a:ext cx="17817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400" b="1" noProof="0" dirty="0">
                <a:solidFill>
                  <a:srgbClr val="00B050"/>
                </a:solidFill>
              </a:rPr>
              <a:t>STÁVAJÍCÍ</a:t>
            </a:r>
            <a:endParaRPr lang="cs-CZ" sz="2400" b="1" dirty="0">
              <a:solidFill>
                <a:srgbClr val="00B050"/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36795AB9-0027-3904-D32E-2A9FAC6F06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36" y="1673596"/>
            <a:ext cx="4212740" cy="3142584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5BAD2408-01DB-65A7-0543-96BAD1E718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999" y="1276393"/>
            <a:ext cx="4395893" cy="3279211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EE6D08F2-3F8F-BEDE-2E29-D1BA68DAD917}"/>
              </a:ext>
            </a:extLst>
          </p:cNvPr>
          <p:cNvSpPr txBox="1"/>
          <p:nvPr/>
        </p:nvSpPr>
        <p:spPr>
          <a:xfrm rot="361247">
            <a:off x="6200117" y="1809799"/>
            <a:ext cx="1343153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dirty="0"/>
              <a:t>ISOVER </a:t>
            </a:r>
            <a:r>
              <a:rPr lang="cs-CZ" b="1" dirty="0">
                <a:solidFill>
                  <a:srgbClr val="C00000"/>
                </a:solidFill>
              </a:rPr>
              <a:t>XH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EF42B45-D783-E940-B6B8-393D518D2D29}"/>
              </a:ext>
            </a:extLst>
          </p:cNvPr>
          <p:cNvSpPr txBox="1"/>
          <p:nvPr/>
        </p:nvSpPr>
        <p:spPr>
          <a:xfrm>
            <a:off x="6188084" y="951355"/>
            <a:ext cx="17817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400" b="1" noProof="0" dirty="0">
                <a:solidFill>
                  <a:srgbClr val="00B050"/>
                </a:solidFill>
              </a:rPr>
              <a:t>NOVÁ </a:t>
            </a:r>
            <a:r>
              <a:rPr lang="cs-CZ" sz="2400" b="1" dirty="0">
                <a:solidFill>
                  <a:srgbClr val="C00000"/>
                </a:solidFill>
              </a:rPr>
              <a:t>PV</a:t>
            </a:r>
          </a:p>
        </p:txBody>
      </p:sp>
    </p:spTree>
    <p:extLst>
      <p:ext uri="{BB962C8B-B14F-4D97-AF65-F5344CB8AC3E}">
        <p14:creationId xmlns:p14="http://schemas.microsoft.com/office/powerpoint/2010/main" val="36672286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29"/>
          </p:nvPr>
        </p:nvSpPr>
        <p:spPr>
          <a:xfrm>
            <a:off x="484256" y="4831876"/>
            <a:ext cx="4540968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30"/>
          </p:nvPr>
        </p:nvSpPr>
        <p:spPr>
          <a:xfrm>
            <a:off x="14301" y="4816180"/>
            <a:ext cx="504000" cy="123111"/>
          </a:xfrm>
        </p:spPr>
        <p:txBody>
          <a:bodyPr/>
          <a:lstStyle/>
          <a:p>
            <a:fld id="{DD52E7CA-940C-4B6E-9E73-0245BA95FC91}" type="slidenum">
              <a:rPr lang="fr-FR" smtClean="0"/>
              <a:pPr/>
              <a:t>24</a:t>
            </a:fld>
            <a:r>
              <a:rPr lang="fr-FR"/>
              <a:t> /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Nové skladby plochých střech pro </a:t>
            </a:r>
            <a:r>
              <a:rPr lang="cs-CZ" dirty="0">
                <a:solidFill>
                  <a:srgbClr val="C00000"/>
                </a:solidFill>
              </a:rPr>
              <a:t>FVE</a:t>
            </a:r>
            <a:r>
              <a:rPr lang="cs-CZ" dirty="0"/>
              <a:t> </a:t>
            </a:r>
          </a:p>
          <a:p>
            <a:r>
              <a:rPr lang="cs-CZ" b="1" dirty="0">
                <a:solidFill>
                  <a:srgbClr val="C00000"/>
                </a:solidFill>
              </a:rPr>
              <a:t>REI 30 DP1</a:t>
            </a:r>
            <a:endParaRPr lang="en-US" b="1" noProof="0" dirty="0">
              <a:solidFill>
                <a:srgbClr val="C00000"/>
              </a:solidFill>
            </a:endParaRPr>
          </a:p>
        </p:txBody>
      </p:sp>
      <p:sp>
        <p:nvSpPr>
          <p:cNvPr id="6" name="Titre 12">
            <a:extLst>
              <a:ext uri="{FF2B5EF4-FFF2-40B4-BE49-F238E27FC236}">
                <a16:creationId xmlns:a16="http://schemas.microsoft.com/office/drawing/2014/main" id="{535D16EC-4C79-504A-FFCE-834B8D678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327025"/>
            <a:ext cx="7974012" cy="307777"/>
          </a:xfrm>
        </p:spPr>
        <p:txBody>
          <a:bodyPr/>
          <a:lstStyle/>
          <a:p>
            <a:r>
              <a:rPr lang="cs-CZ" noProof="0" dirty="0"/>
              <a:t>Fotovoltaika a nové skladby plochých střech</a:t>
            </a:r>
            <a:endParaRPr lang="en-US" noProof="0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3229A4BB-739A-9FD4-FFC0-01DFDC8FDA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301" y="1725000"/>
            <a:ext cx="4099678" cy="3091180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1FC90B11-E9D6-09D2-22E0-ADC0CAC286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4080" y="1364180"/>
            <a:ext cx="4329540" cy="3255233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3EF42B45-D783-E940-B6B8-393D518D2D29}"/>
              </a:ext>
            </a:extLst>
          </p:cNvPr>
          <p:cNvSpPr txBox="1"/>
          <p:nvPr/>
        </p:nvSpPr>
        <p:spPr>
          <a:xfrm>
            <a:off x="6188084" y="951355"/>
            <a:ext cx="17817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400" b="1" noProof="0" dirty="0">
                <a:solidFill>
                  <a:srgbClr val="00B050"/>
                </a:solidFill>
              </a:rPr>
              <a:t>NOVÁ </a:t>
            </a:r>
            <a:r>
              <a:rPr lang="cs-CZ" sz="2400" b="1" dirty="0">
                <a:solidFill>
                  <a:srgbClr val="C00000"/>
                </a:solidFill>
              </a:rPr>
              <a:t>PV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EE6D08F2-3F8F-BEDE-2E29-D1BA68DAD917}"/>
              </a:ext>
            </a:extLst>
          </p:cNvPr>
          <p:cNvSpPr txBox="1"/>
          <p:nvPr/>
        </p:nvSpPr>
        <p:spPr>
          <a:xfrm rot="361247">
            <a:off x="6069360" y="1891389"/>
            <a:ext cx="1343153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dirty="0"/>
              <a:t>ISOVER </a:t>
            </a:r>
            <a:r>
              <a:rPr lang="cs-CZ" b="1" dirty="0">
                <a:solidFill>
                  <a:srgbClr val="C00000"/>
                </a:solidFill>
              </a:rPr>
              <a:t>XH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D39D0E6-25F0-192B-78F5-C7ECD3317A7D}"/>
              </a:ext>
            </a:extLst>
          </p:cNvPr>
          <p:cNvSpPr txBox="1"/>
          <p:nvPr/>
        </p:nvSpPr>
        <p:spPr>
          <a:xfrm rot="361247">
            <a:off x="1749102" y="2221259"/>
            <a:ext cx="1566519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dirty="0"/>
              <a:t>ISOVER </a:t>
            </a:r>
            <a:r>
              <a:rPr lang="cs-CZ" b="1" dirty="0">
                <a:solidFill>
                  <a:srgbClr val="C00000"/>
                </a:solidFill>
              </a:rPr>
              <a:t>EPS 250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61288AB6-A2B5-C554-FE07-96731406C277}"/>
              </a:ext>
            </a:extLst>
          </p:cNvPr>
          <p:cNvSpPr txBox="1"/>
          <p:nvPr/>
        </p:nvSpPr>
        <p:spPr>
          <a:xfrm>
            <a:off x="2320584" y="1164147"/>
            <a:ext cx="17817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400" b="1" noProof="0" dirty="0">
                <a:solidFill>
                  <a:srgbClr val="00B050"/>
                </a:solidFill>
              </a:rPr>
              <a:t>NOVÁ </a:t>
            </a:r>
            <a:r>
              <a:rPr lang="cs-CZ" sz="2400" b="1" noProof="0" dirty="0">
                <a:solidFill>
                  <a:srgbClr val="C00000"/>
                </a:solidFill>
              </a:rPr>
              <a:t>PV</a:t>
            </a:r>
            <a:endParaRPr lang="cs-CZ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42088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529602" cy="369332"/>
          </a:xfrm>
        </p:spPr>
        <p:txBody>
          <a:bodyPr/>
          <a:lstStyle/>
          <a:p>
            <a:r>
              <a:rPr lang="cs-CZ" sz="2400" dirty="0"/>
              <a:t>Závěry: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20F10B67-5052-0A33-795C-18D3B10DA8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037" r="32222"/>
          <a:stretch/>
        </p:blipFill>
        <p:spPr>
          <a:xfrm>
            <a:off x="7763171" y="597032"/>
            <a:ext cx="1218729" cy="1267862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E8F45372-4FE2-0D59-E60E-A4974481B9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889" y="279172"/>
            <a:ext cx="2723657" cy="1846480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DD4AA8B5-BE36-5332-D134-89B11D179F0F}"/>
              </a:ext>
            </a:extLst>
          </p:cNvPr>
          <p:cNvSpPr txBox="1"/>
          <p:nvPr/>
        </p:nvSpPr>
        <p:spPr>
          <a:xfrm>
            <a:off x="298471" y="529221"/>
            <a:ext cx="5318558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C00000"/>
                </a:solidFill>
              </a:rPr>
              <a:t>Současně navrhované PV na plochých střechám jsou z hlediska max. zatížitelnosti tepelných izolací navrhovány zcela nevhodně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B050"/>
                </a:solidFill>
              </a:rPr>
              <a:t>Předpokládá se tak postupné zatlačování patek do střešního pláště. To může způsobovat extrémní škod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C00000"/>
                </a:solidFill>
              </a:rPr>
              <a:t>Je nezbytné navrhovat PV tak, aby deformace patek byla na velmi malé úrovn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B050"/>
                </a:solidFill>
              </a:rPr>
              <a:t>Vždy používat nejvýkonnější materiály pro PV určené (hydroizolace, tepelné izolace,..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C00000"/>
                </a:solidFill>
              </a:rPr>
              <a:t>Je třeba využít zkušeností nejlepších odborníků, protože normy atd. zatím neexistují a stávající údaje v technických listech apod. nezohledňují reálné podmínky stavb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600" b="1" dirty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B050"/>
                </a:solidFill>
              </a:rPr>
              <a:t>Projektantům držíme palce 👍👍👍</a:t>
            </a:r>
          </a:p>
          <a:p>
            <a:r>
              <a:rPr lang="cs-CZ" sz="1600" b="1" dirty="0">
                <a:solidFill>
                  <a:srgbClr val="00B050"/>
                </a:solidFill>
              </a:rPr>
              <a:t> </a:t>
            </a:r>
            <a:endParaRPr lang="cs-CZ" sz="1600" b="1" dirty="0">
              <a:solidFill>
                <a:srgbClr val="C00000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34E57DD-D6A0-2D7D-A6DF-9387D4B358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6948" y="2138909"/>
            <a:ext cx="2575234" cy="1276289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40438819-661F-7445-F4EA-78A99771D2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6948" y="3461912"/>
            <a:ext cx="2249104" cy="165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3263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44FEF-26B3-191C-51EB-047CD8C16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252B3908-6EBB-F03C-819A-6A5A8FA13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5236C83F-137A-6EDB-0755-F2D413E28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koušky </a:t>
            </a:r>
            <a:r>
              <a:rPr lang="cs-CZ" dirty="0" err="1"/>
              <a:t>čvut</a:t>
            </a:r>
            <a:r>
              <a:rPr lang="cs-CZ" dirty="0"/>
              <a:t>/</a:t>
            </a:r>
            <a:r>
              <a:rPr lang="cs-CZ" dirty="0" err="1"/>
              <a:t>uceeb</a:t>
            </a:r>
            <a:endParaRPr lang="cs-CZ" dirty="0"/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3018085C-167B-7A48-37BE-1243C5C5E5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634" y="635479"/>
            <a:ext cx="5506361" cy="3084114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532C791D-884C-E290-5651-D4BB202AF8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7911" y="2048139"/>
            <a:ext cx="3561213" cy="2571987"/>
          </a:xfrm>
          <a:prstGeom prst="rect">
            <a:avLst/>
          </a:prstGeom>
        </p:spPr>
      </p:pic>
      <p:pic>
        <p:nvPicPr>
          <p:cNvPr id="16" name="Obrázek 15">
            <a:extLst>
              <a:ext uri="{FF2B5EF4-FFF2-40B4-BE49-F238E27FC236}">
                <a16:creationId xmlns:a16="http://schemas.microsoft.com/office/drawing/2014/main" id="{5B50CDC5-59CF-C254-A2BD-7F5AA6CCE9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5390" y="659992"/>
            <a:ext cx="6773220" cy="562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185047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D856EA-3C60-D794-3332-3F255C5C71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D8F988-4C30-C26D-003B-19EDD646C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284" y="500727"/>
            <a:ext cx="6340475" cy="923925"/>
          </a:xfrm>
        </p:spPr>
        <p:txBody>
          <a:bodyPr/>
          <a:lstStyle/>
          <a:p>
            <a:r>
              <a:rPr lang="cs-CZ" sz="3600" dirty="0"/>
              <a:t>Děkuji vám za pozornost</a:t>
            </a:r>
            <a:endParaRPr lang="en-US" sz="360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3CE5E78-F190-4838-A2B4-0BA98ED17AB2}"/>
              </a:ext>
            </a:extLst>
          </p:cNvPr>
          <p:cNvSpPr txBox="1">
            <a:spLocks/>
          </p:cNvSpPr>
          <p:nvPr/>
        </p:nvSpPr>
        <p:spPr>
          <a:xfrm>
            <a:off x="2735516" y="4098539"/>
            <a:ext cx="4567243" cy="323165"/>
          </a:xfrm>
          <a:prstGeom prst="rect">
            <a:avLst/>
          </a:prstGeom>
        </p:spPr>
        <p:txBody>
          <a:bodyPr/>
          <a:lstStyle>
            <a:lvl1pPr marL="180975" marR="0" indent="-180975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sz="17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6575" marR="0" indent="-1778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●"/>
              <a:tabLst/>
              <a:defRPr sz="15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lang="fr-FR" sz="13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●"/>
              <a:tabLst/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60000" marR="0" indent="-1143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marR="0" indent="-11520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bg2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863600" marR="0" indent="-13970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●"/>
              <a:tabLst/>
              <a:defRPr sz="13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indent="0" algn="r">
              <a:spcAft>
                <a:spcPts val="0"/>
              </a:spcAft>
              <a:buNone/>
            </a:pPr>
            <a:r>
              <a:rPr lang="cs-CZ" dirty="0">
                <a:solidFill>
                  <a:schemeClr val="bg1"/>
                </a:solidFill>
              </a:rPr>
              <a:t>Ing. PAVEL RYDLO</a:t>
            </a:r>
          </a:p>
          <a:p>
            <a:pPr marL="0" indent="0" algn="r">
              <a:spcAft>
                <a:spcPts val="0"/>
              </a:spcAft>
              <a:buNone/>
            </a:pPr>
            <a:r>
              <a:rPr lang="cs-CZ" dirty="0">
                <a:solidFill>
                  <a:schemeClr val="bg1"/>
                </a:solidFill>
              </a:rPr>
              <a:t>602 427 678</a:t>
            </a:r>
          </a:p>
          <a:p>
            <a:pPr marL="0" indent="0" algn="r">
              <a:spcAft>
                <a:spcPts val="0"/>
              </a:spcAft>
              <a:buNone/>
            </a:pPr>
            <a:r>
              <a:rPr lang="cs-CZ" dirty="0">
                <a:solidFill>
                  <a:schemeClr val="bg1"/>
                </a:solidFill>
              </a:rPr>
              <a:t>pavel.rydlo@saint-gobain.com</a:t>
            </a:r>
          </a:p>
          <a:p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998268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CD1C91B-E0FD-42C6-9763-B04773922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cs" dirty="0"/>
              <a:t>ISOVER | ZNAČKA SKUPINY SAINT-GOBAIN</a:t>
            </a:r>
            <a:endParaRPr lang="fr-FR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BEB207E-0571-4EBA-814A-505AABA1FC6A}"/>
              </a:ext>
            </a:extLst>
          </p:cNvPr>
          <p:cNvCxnSpPr>
            <a:cxnSpLocks/>
          </p:cNvCxnSpPr>
          <p:nvPr/>
        </p:nvCxnSpPr>
        <p:spPr>
          <a:xfrm>
            <a:off x="668760" y="1673691"/>
            <a:ext cx="0" cy="216953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ECB4B92-EAF8-4403-83E0-8498D262AC18}"/>
              </a:ext>
            </a:extLst>
          </p:cNvPr>
          <p:cNvCxnSpPr>
            <a:cxnSpLocks/>
          </p:cNvCxnSpPr>
          <p:nvPr/>
        </p:nvCxnSpPr>
        <p:spPr>
          <a:xfrm>
            <a:off x="3413866" y="2178306"/>
            <a:ext cx="0" cy="1210664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Graphique 23">
            <a:extLst>
              <a:ext uri="{FF2B5EF4-FFF2-40B4-BE49-F238E27FC236}">
                <a16:creationId xmlns:a16="http://schemas.microsoft.com/office/drawing/2014/main" id="{3E29BA08-7AF6-4248-9484-C5BB1E274601}"/>
              </a:ext>
            </a:extLst>
          </p:cNvPr>
          <p:cNvSpPr/>
          <p:nvPr/>
        </p:nvSpPr>
        <p:spPr>
          <a:xfrm>
            <a:off x="344760" y="1085157"/>
            <a:ext cx="648000" cy="648000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ffectLst/>
        </p:spPr>
        <p:txBody>
          <a:bodyPr wrap="square" lIns="108000" tIns="900000" rtlCol="0">
            <a:normAutofit fontScale="25000" lnSpcReduction="20000"/>
          </a:bodyPr>
          <a:lstStyle/>
          <a:p>
            <a:pPr defTabSz="914378" rtl="0">
              <a:lnSpc>
                <a:spcPct val="90000"/>
              </a:lnSpc>
              <a:spcAft>
                <a:spcPts val="1000"/>
              </a:spcAft>
              <a:buClr>
                <a:schemeClr val="bg1"/>
              </a:buClr>
            </a:pPr>
            <a:endParaRPr lang="en-US" sz="1200" b="1" cap="al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Graphique 23">
            <a:extLst>
              <a:ext uri="{FF2B5EF4-FFF2-40B4-BE49-F238E27FC236}">
                <a16:creationId xmlns:a16="http://schemas.microsoft.com/office/drawing/2014/main" id="{E91176C9-E516-43C1-84B3-318809981447}"/>
              </a:ext>
            </a:extLst>
          </p:cNvPr>
          <p:cNvSpPr/>
          <p:nvPr/>
        </p:nvSpPr>
        <p:spPr>
          <a:xfrm>
            <a:off x="344760" y="2002011"/>
            <a:ext cx="648000" cy="648000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ffectLst/>
        </p:spPr>
        <p:txBody>
          <a:bodyPr wrap="square" lIns="108000" tIns="900000" rtlCol="0">
            <a:normAutofit fontScale="25000" lnSpcReduction="20000"/>
          </a:bodyPr>
          <a:lstStyle/>
          <a:p>
            <a:pPr defTabSz="914378" rtl="0">
              <a:lnSpc>
                <a:spcPct val="90000"/>
              </a:lnSpc>
              <a:spcAft>
                <a:spcPts val="1000"/>
              </a:spcAft>
              <a:buClr>
                <a:schemeClr val="bg1"/>
              </a:buClr>
            </a:pPr>
            <a:endParaRPr lang="en-US" sz="1200" b="1" cap="al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Graphique 23">
            <a:extLst>
              <a:ext uri="{FF2B5EF4-FFF2-40B4-BE49-F238E27FC236}">
                <a16:creationId xmlns:a16="http://schemas.microsoft.com/office/drawing/2014/main" id="{6084007B-DDA5-4490-98B7-3E2774E3CC2B}"/>
              </a:ext>
            </a:extLst>
          </p:cNvPr>
          <p:cNvSpPr/>
          <p:nvPr/>
        </p:nvSpPr>
        <p:spPr>
          <a:xfrm>
            <a:off x="344760" y="2918865"/>
            <a:ext cx="648000" cy="648000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ffectLst/>
        </p:spPr>
        <p:txBody>
          <a:bodyPr wrap="square" lIns="108000" tIns="900000" rtlCol="0">
            <a:normAutofit fontScale="25000" lnSpcReduction="20000"/>
          </a:bodyPr>
          <a:lstStyle/>
          <a:p>
            <a:pPr defTabSz="914378" rtl="0">
              <a:lnSpc>
                <a:spcPct val="90000"/>
              </a:lnSpc>
              <a:spcAft>
                <a:spcPts val="1000"/>
              </a:spcAft>
              <a:buClr>
                <a:schemeClr val="bg1"/>
              </a:buClr>
            </a:pPr>
            <a:endParaRPr lang="en-US" sz="1200" b="1" cap="al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Graphique 23">
            <a:extLst>
              <a:ext uri="{FF2B5EF4-FFF2-40B4-BE49-F238E27FC236}">
                <a16:creationId xmlns:a16="http://schemas.microsoft.com/office/drawing/2014/main" id="{C924D942-ECAA-4D3E-9F48-995023AC087F}"/>
              </a:ext>
            </a:extLst>
          </p:cNvPr>
          <p:cNvSpPr/>
          <p:nvPr/>
        </p:nvSpPr>
        <p:spPr>
          <a:xfrm>
            <a:off x="344760" y="3835721"/>
            <a:ext cx="648000" cy="648000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ffectLst/>
        </p:spPr>
        <p:txBody>
          <a:bodyPr wrap="square" lIns="108000" tIns="900000" rtlCol="0">
            <a:normAutofit fontScale="25000" lnSpcReduction="20000"/>
          </a:bodyPr>
          <a:lstStyle/>
          <a:p>
            <a:pPr defTabSz="914378" rtl="0">
              <a:lnSpc>
                <a:spcPct val="90000"/>
              </a:lnSpc>
              <a:spcAft>
                <a:spcPts val="1000"/>
              </a:spcAft>
              <a:buClr>
                <a:schemeClr val="bg1"/>
              </a:buClr>
            </a:pPr>
            <a:endParaRPr lang="en-US" sz="1200" b="1" cap="al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Graphique 23">
            <a:extLst>
              <a:ext uri="{FF2B5EF4-FFF2-40B4-BE49-F238E27FC236}">
                <a16:creationId xmlns:a16="http://schemas.microsoft.com/office/drawing/2014/main" id="{DA534B8C-135F-40C2-A17F-7BF72FA1C84F}"/>
              </a:ext>
            </a:extLst>
          </p:cNvPr>
          <p:cNvSpPr/>
          <p:nvPr/>
        </p:nvSpPr>
        <p:spPr>
          <a:xfrm>
            <a:off x="3089866" y="1543584"/>
            <a:ext cx="648000" cy="648000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ffectLst/>
        </p:spPr>
        <p:txBody>
          <a:bodyPr wrap="square" lIns="108000" tIns="900000" rtlCol="0">
            <a:normAutofit fontScale="25000" lnSpcReduction="20000"/>
          </a:bodyPr>
          <a:lstStyle/>
          <a:p>
            <a:pPr defTabSz="914378" rtl="0">
              <a:lnSpc>
                <a:spcPct val="90000"/>
              </a:lnSpc>
              <a:spcAft>
                <a:spcPts val="1000"/>
              </a:spcAft>
              <a:buClr>
                <a:schemeClr val="bg1"/>
              </a:buClr>
            </a:pPr>
            <a:endParaRPr lang="en-US" sz="1200" b="1" cap="al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raphique 23">
            <a:extLst>
              <a:ext uri="{FF2B5EF4-FFF2-40B4-BE49-F238E27FC236}">
                <a16:creationId xmlns:a16="http://schemas.microsoft.com/office/drawing/2014/main" id="{9B977C1A-3118-4F2F-AAF0-A72940DDB167}"/>
              </a:ext>
            </a:extLst>
          </p:cNvPr>
          <p:cNvSpPr/>
          <p:nvPr/>
        </p:nvSpPr>
        <p:spPr>
          <a:xfrm>
            <a:off x="3089866" y="2460438"/>
            <a:ext cx="648000" cy="648000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ffectLst/>
        </p:spPr>
        <p:txBody>
          <a:bodyPr wrap="square" lIns="108000" tIns="900000" rtlCol="0">
            <a:normAutofit fontScale="25000" lnSpcReduction="20000"/>
          </a:bodyPr>
          <a:lstStyle/>
          <a:p>
            <a:pPr defTabSz="914378" rtl="0">
              <a:lnSpc>
                <a:spcPct val="90000"/>
              </a:lnSpc>
              <a:spcAft>
                <a:spcPts val="1000"/>
              </a:spcAft>
              <a:buClr>
                <a:schemeClr val="bg1"/>
              </a:buClr>
            </a:pPr>
            <a:endParaRPr lang="en-US" sz="1200" b="1" cap="al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Graphique 23">
            <a:extLst>
              <a:ext uri="{FF2B5EF4-FFF2-40B4-BE49-F238E27FC236}">
                <a16:creationId xmlns:a16="http://schemas.microsoft.com/office/drawing/2014/main" id="{7C2489C7-5726-4B1E-B09E-8ECFC3FC39EF}"/>
              </a:ext>
            </a:extLst>
          </p:cNvPr>
          <p:cNvSpPr/>
          <p:nvPr/>
        </p:nvSpPr>
        <p:spPr>
          <a:xfrm>
            <a:off x="3089866" y="3377292"/>
            <a:ext cx="648000" cy="648000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ffectLst/>
        </p:spPr>
        <p:txBody>
          <a:bodyPr wrap="square" lIns="108000" tIns="900000" rtlCol="0">
            <a:normAutofit fontScale="25000" lnSpcReduction="20000"/>
          </a:bodyPr>
          <a:lstStyle/>
          <a:p>
            <a:pPr defTabSz="914378" rtl="0">
              <a:lnSpc>
                <a:spcPct val="90000"/>
              </a:lnSpc>
              <a:spcAft>
                <a:spcPts val="1000"/>
              </a:spcAft>
              <a:buClr>
                <a:schemeClr val="bg1"/>
              </a:buClr>
            </a:pPr>
            <a:endParaRPr lang="en-US" sz="1200" b="1" cap="al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9FDF4B-ABCB-4BAE-9A41-9F81396E760B}"/>
              </a:ext>
            </a:extLst>
          </p:cNvPr>
          <p:cNvSpPr txBox="1"/>
          <p:nvPr/>
        </p:nvSpPr>
        <p:spPr>
          <a:xfrm>
            <a:off x="1148268" y="1255269"/>
            <a:ext cx="159908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rtl="0"/>
            <a:r>
              <a:rPr lang="cs" sz="1000" dirty="0"/>
              <a:t>Skupina Saint-Gobain založil v roce 1665</a:t>
            </a:r>
          </a:p>
          <a:p>
            <a:pPr rtl="0"/>
            <a:r>
              <a:rPr lang="cs" sz="1000" b="1" dirty="0">
                <a:solidFill>
                  <a:schemeClr val="accent1"/>
                </a:solidFill>
              </a:rPr>
              <a:t>Ludvík XIV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36B35F-D0C5-4994-A61C-C838DB4344DE}"/>
              </a:ext>
            </a:extLst>
          </p:cNvPr>
          <p:cNvSpPr txBox="1"/>
          <p:nvPr/>
        </p:nvSpPr>
        <p:spPr>
          <a:xfrm>
            <a:off x="1148268" y="2249067"/>
            <a:ext cx="159908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rtl="0"/>
            <a:r>
              <a:rPr lang="cs" sz="1000" dirty="0"/>
              <a:t>Působí v </a:t>
            </a:r>
            <a:r>
              <a:rPr lang="cs" sz="1000" b="1" dirty="0">
                <a:solidFill>
                  <a:schemeClr val="accent1"/>
                </a:solidFill>
              </a:rPr>
              <a:t>76 zemích svě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282703-6346-48DC-BD45-9C29C1CC4195}"/>
              </a:ext>
            </a:extLst>
          </p:cNvPr>
          <p:cNvSpPr txBox="1"/>
          <p:nvPr/>
        </p:nvSpPr>
        <p:spPr>
          <a:xfrm>
            <a:off x="1148268" y="3041560"/>
            <a:ext cx="1599084" cy="4009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rtl="0"/>
            <a:r>
              <a:rPr lang="cs" sz="1000" b="1" dirty="0">
                <a:solidFill>
                  <a:schemeClr val="accent1"/>
                </a:solidFill>
              </a:rPr>
              <a:t>Zavázali jsme se </a:t>
            </a:r>
            <a:r>
              <a:rPr lang="cs" sz="1000" dirty="0"/>
              <a:t>do</a:t>
            </a:r>
            <a:r>
              <a:rPr lang="cs-CZ" sz="1000" dirty="0"/>
              <a:t>sáhnout uhlíkové neutrality do roku 2050.</a:t>
            </a:r>
            <a:endParaRPr lang="cs" sz="1000" b="1" dirty="0">
              <a:solidFill>
                <a:schemeClr val="accent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51A60F-5899-4812-B7DD-756F5D1D496A}"/>
              </a:ext>
            </a:extLst>
          </p:cNvPr>
          <p:cNvSpPr txBox="1"/>
          <p:nvPr/>
        </p:nvSpPr>
        <p:spPr>
          <a:xfrm>
            <a:off x="1148268" y="4082777"/>
            <a:ext cx="172176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rtl="0"/>
            <a:r>
              <a:rPr lang="cs" sz="1000" dirty="0"/>
              <a:t>Tržby v roce 2023 dosáhly </a:t>
            </a:r>
            <a:r>
              <a:rPr lang="cs" sz="1000" b="1" dirty="0">
                <a:solidFill>
                  <a:schemeClr val="accent1"/>
                </a:solidFill>
              </a:rPr>
              <a:t>47,9 miliardy eu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222C659-168C-4F40-9F94-D69B72355D9E}"/>
              </a:ext>
            </a:extLst>
          </p:cNvPr>
          <p:cNvSpPr txBox="1"/>
          <p:nvPr/>
        </p:nvSpPr>
        <p:spPr>
          <a:xfrm>
            <a:off x="3893374" y="1713696"/>
            <a:ext cx="148807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rtl="0"/>
            <a:r>
              <a:rPr lang="cs" sz="1000"/>
              <a:t>Přibližně </a:t>
            </a:r>
            <a:r>
              <a:rPr lang="cs" sz="1000" b="1">
                <a:solidFill>
                  <a:schemeClr val="accent1"/>
                </a:solidFill>
              </a:rPr>
              <a:t>800</a:t>
            </a:r>
          </a:p>
          <a:p>
            <a:pPr rtl="0"/>
            <a:r>
              <a:rPr lang="cs" sz="1000" b="1">
                <a:solidFill>
                  <a:schemeClr val="accent1"/>
                </a:solidFill>
              </a:rPr>
              <a:t>výrobních provozů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490F72-024C-42CE-8B58-67EA8EE6E8AA}"/>
              </a:ext>
            </a:extLst>
          </p:cNvPr>
          <p:cNvSpPr txBox="1"/>
          <p:nvPr/>
        </p:nvSpPr>
        <p:spPr>
          <a:xfrm>
            <a:off x="3893375" y="2616292"/>
            <a:ext cx="148807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rtl="0"/>
            <a:r>
              <a:rPr lang="cs" sz="1000"/>
              <a:t>Jeden z </a:t>
            </a:r>
            <a:r>
              <a:rPr lang="cs" sz="1000" b="1">
                <a:solidFill>
                  <a:schemeClr val="accent1"/>
                </a:solidFill>
              </a:rPr>
              <a:t>TOP 100</a:t>
            </a:r>
            <a:r>
              <a:rPr lang="cs" sz="1000"/>
              <a:t> globálních inovátorů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76EF0DC-9AA5-470F-9E5B-A87055BF2336}"/>
              </a:ext>
            </a:extLst>
          </p:cNvPr>
          <p:cNvSpPr txBox="1"/>
          <p:nvPr/>
        </p:nvSpPr>
        <p:spPr>
          <a:xfrm>
            <a:off x="3893374" y="3624348"/>
            <a:ext cx="159908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rtl="0"/>
            <a:r>
              <a:rPr lang="cs" sz="1000" dirty="0"/>
              <a:t>Více než </a:t>
            </a:r>
            <a:r>
              <a:rPr lang="cs" sz="1000" b="1" dirty="0">
                <a:solidFill>
                  <a:schemeClr val="accent1"/>
                </a:solidFill>
              </a:rPr>
              <a:t>160 000 zaměstnanců</a:t>
            </a:r>
          </a:p>
        </p:txBody>
      </p:sp>
      <p:grpSp>
        <p:nvGrpSpPr>
          <p:cNvPr id="22" name="Groupe 121">
            <a:extLst>
              <a:ext uri="{FF2B5EF4-FFF2-40B4-BE49-F238E27FC236}">
                <a16:creationId xmlns:a16="http://schemas.microsoft.com/office/drawing/2014/main" id="{A197F2E4-980C-4A56-884B-C6A53D052DCA}"/>
              </a:ext>
            </a:extLst>
          </p:cNvPr>
          <p:cNvGrpSpPr>
            <a:grpSpLocks noChangeAspect="1"/>
          </p:cNvGrpSpPr>
          <p:nvPr/>
        </p:nvGrpSpPr>
        <p:grpSpPr>
          <a:xfrm>
            <a:off x="506760" y="2164011"/>
            <a:ext cx="324000" cy="324000"/>
            <a:chOff x="9683750" y="9726613"/>
            <a:chExt cx="628650" cy="628650"/>
          </a:xfrm>
          <a:solidFill>
            <a:schemeClr val="bg1"/>
          </a:solidFill>
          <a:effectLst/>
        </p:grpSpPr>
        <p:sp>
          <p:nvSpPr>
            <p:cNvPr id="23" name="Freeform 464">
              <a:extLst>
                <a:ext uri="{FF2B5EF4-FFF2-40B4-BE49-F238E27FC236}">
                  <a16:creationId xmlns:a16="http://schemas.microsoft.com/office/drawing/2014/main" id="{D2AF2B7F-AC6F-46D0-A808-D4A53E8226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750" y="9726613"/>
              <a:ext cx="628650" cy="628650"/>
            </a:xfrm>
            <a:custGeom>
              <a:avLst/>
              <a:gdLst>
                <a:gd name="T0" fmla="*/ 132724 w 896"/>
                <a:gd name="T1" fmla="*/ 2104 h 897"/>
                <a:gd name="T2" fmla="*/ 42135 w 896"/>
                <a:gd name="T3" fmla="*/ 240601 h 897"/>
                <a:gd name="T4" fmla="*/ 481740 w 896"/>
                <a:gd name="T5" fmla="*/ 586421 h 897"/>
                <a:gd name="T6" fmla="*/ 488763 w 896"/>
                <a:gd name="T7" fmla="*/ 577302 h 897"/>
                <a:gd name="T8" fmla="*/ 489465 w 896"/>
                <a:gd name="T9" fmla="*/ 571690 h 897"/>
                <a:gd name="T10" fmla="*/ 483145 w 896"/>
                <a:gd name="T11" fmla="*/ 561870 h 897"/>
                <a:gd name="T12" fmla="*/ 472611 w 896"/>
                <a:gd name="T13" fmla="*/ 559064 h 897"/>
                <a:gd name="T14" fmla="*/ 388342 w 896"/>
                <a:gd name="T15" fmla="*/ 533110 h 897"/>
                <a:gd name="T16" fmla="*/ 311095 w 896"/>
                <a:gd name="T17" fmla="*/ 460158 h 897"/>
                <a:gd name="T18" fmla="*/ 322331 w 896"/>
                <a:gd name="T19" fmla="*/ 390713 h 897"/>
                <a:gd name="T20" fmla="*/ 240168 w 896"/>
                <a:gd name="T21" fmla="*/ 368267 h 897"/>
                <a:gd name="T22" fmla="*/ 271769 w 896"/>
                <a:gd name="T23" fmla="*/ 350029 h 897"/>
                <a:gd name="T24" fmla="*/ 291432 w 896"/>
                <a:gd name="T25" fmla="*/ 242004 h 897"/>
                <a:gd name="T26" fmla="*/ 386937 w 896"/>
                <a:gd name="T27" fmla="*/ 129770 h 897"/>
                <a:gd name="T28" fmla="*/ 483145 w 896"/>
                <a:gd name="T29" fmla="*/ 108726 h 897"/>
                <a:gd name="T30" fmla="*/ 455757 w 896"/>
                <a:gd name="T31" fmla="*/ 256033 h 897"/>
                <a:gd name="T32" fmla="*/ 478931 w 896"/>
                <a:gd name="T33" fmla="*/ 318463 h 897"/>
                <a:gd name="T34" fmla="*/ 556178 w 896"/>
                <a:gd name="T35" fmla="*/ 328283 h 897"/>
                <a:gd name="T36" fmla="*/ 598313 w 896"/>
                <a:gd name="T37" fmla="*/ 328985 h 897"/>
                <a:gd name="T38" fmla="*/ 518257 w 896"/>
                <a:gd name="T39" fmla="*/ 541527 h 897"/>
                <a:gd name="T40" fmla="*/ 560392 w 896"/>
                <a:gd name="T41" fmla="*/ 518379 h 897"/>
                <a:gd name="T42" fmla="*/ 59691 w 896"/>
                <a:gd name="T43" fmla="*/ 57520 h 897"/>
                <a:gd name="T44" fmla="*/ 219803 w 896"/>
                <a:gd name="T45" fmla="*/ 125561 h 897"/>
                <a:gd name="T46" fmla="*/ 130618 w 896"/>
                <a:gd name="T47" fmla="*/ 279883 h 897"/>
                <a:gd name="T48" fmla="*/ 59691 w 896"/>
                <a:gd name="T49" fmla="*/ 57520 h 897"/>
                <a:gd name="T50" fmla="*/ 107444 w 896"/>
                <a:gd name="T51" fmla="*/ 307240 h 897"/>
                <a:gd name="T52" fmla="*/ 125000 w 896"/>
                <a:gd name="T53" fmla="*/ 376684 h 897"/>
                <a:gd name="T54" fmla="*/ 58286 w 896"/>
                <a:gd name="T55" fmla="*/ 329686 h 897"/>
                <a:gd name="T56" fmla="*/ 358847 w 896"/>
                <a:gd name="T57" fmla="*/ 119248 h 897"/>
                <a:gd name="T58" fmla="*/ 264044 w 896"/>
                <a:gd name="T59" fmla="*/ 255332 h 897"/>
                <a:gd name="T60" fmla="*/ 275280 w 896"/>
                <a:gd name="T61" fmla="*/ 320567 h 897"/>
                <a:gd name="T62" fmla="*/ 219101 w 896"/>
                <a:gd name="T63" fmla="*/ 390012 h 897"/>
                <a:gd name="T64" fmla="*/ 297752 w 896"/>
                <a:gd name="T65" fmla="*/ 407549 h 897"/>
                <a:gd name="T66" fmla="*/ 271067 w 896"/>
                <a:gd name="T67" fmla="*/ 477695 h 897"/>
                <a:gd name="T68" fmla="*/ 371488 w 896"/>
                <a:gd name="T69" fmla="*/ 465770 h 897"/>
                <a:gd name="T70" fmla="*/ 360252 w 896"/>
                <a:gd name="T71" fmla="*/ 566780 h 897"/>
                <a:gd name="T72" fmla="*/ 110253 w 896"/>
                <a:gd name="T73" fmla="*/ 486814 h 897"/>
                <a:gd name="T74" fmla="*/ 140449 w 896"/>
                <a:gd name="T75" fmla="*/ 345820 h 897"/>
                <a:gd name="T76" fmla="*/ 144663 w 896"/>
                <a:gd name="T77" fmla="*/ 305135 h 897"/>
                <a:gd name="T78" fmla="*/ 238763 w 896"/>
                <a:gd name="T79" fmla="*/ 74355 h 897"/>
                <a:gd name="T80" fmla="*/ 356741 w 896"/>
                <a:gd name="T81" fmla="*/ 104518 h 897"/>
                <a:gd name="T82" fmla="*/ 509830 w 896"/>
                <a:gd name="T83" fmla="*/ 290405 h 897"/>
                <a:gd name="T84" fmla="*/ 498594 w 896"/>
                <a:gd name="T85" fmla="*/ 239198 h 897"/>
                <a:gd name="T86" fmla="*/ 506319 w 896"/>
                <a:gd name="T87" fmla="*/ 127666 h 89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896" h="897">
                  <a:moveTo>
                    <a:pt x="467" y="43"/>
                  </a:moveTo>
                  <a:cubicBezTo>
                    <a:pt x="415" y="43"/>
                    <a:pt x="365" y="53"/>
                    <a:pt x="317" y="70"/>
                  </a:cubicBezTo>
                  <a:cubicBezTo>
                    <a:pt x="287" y="32"/>
                    <a:pt x="241" y="6"/>
                    <a:pt x="189" y="3"/>
                  </a:cubicBezTo>
                  <a:cubicBezTo>
                    <a:pt x="139" y="0"/>
                    <a:pt x="92" y="17"/>
                    <a:pt x="56" y="51"/>
                  </a:cubicBezTo>
                  <a:cubicBezTo>
                    <a:pt x="20" y="85"/>
                    <a:pt x="0" y="132"/>
                    <a:pt x="0" y="181"/>
                  </a:cubicBezTo>
                  <a:cubicBezTo>
                    <a:pt x="0" y="241"/>
                    <a:pt x="27" y="297"/>
                    <a:pt x="60" y="343"/>
                  </a:cubicBezTo>
                  <a:cubicBezTo>
                    <a:pt x="47" y="384"/>
                    <a:pt x="41" y="427"/>
                    <a:pt x="41" y="470"/>
                  </a:cubicBezTo>
                  <a:cubicBezTo>
                    <a:pt x="41" y="705"/>
                    <a:pt x="232" y="896"/>
                    <a:pt x="467" y="896"/>
                  </a:cubicBezTo>
                  <a:cubicBezTo>
                    <a:pt x="544" y="896"/>
                    <a:pt x="620" y="876"/>
                    <a:pt x="686" y="836"/>
                  </a:cubicBezTo>
                  <a:cubicBezTo>
                    <a:pt x="688" y="835"/>
                    <a:pt x="691" y="833"/>
                    <a:pt x="692" y="831"/>
                  </a:cubicBezTo>
                  <a:cubicBezTo>
                    <a:pt x="692" y="831"/>
                    <a:pt x="692" y="830"/>
                    <a:pt x="693" y="830"/>
                  </a:cubicBezTo>
                  <a:cubicBezTo>
                    <a:pt x="694" y="828"/>
                    <a:pt x="695" y="826"/>
                    <a:pt x="696" y="823"/>
                  </a:cubicBezTo>
                  <a:cubicBezTo>
                    <a:pt x="697" y="821"/>
                    <a:pt x="697" y="818"/>
                    <a:pt x="697" y="815"/>
                  </a:cubicBezTo>
                  <a:cubicBezTo>
                    <a:pt x="696" y="809"/>
                    <a:pt x="693" y="804"/>
                    <a:pt x="688" y="801"/>
                  </a:cubicBezTo>
                  <a:cubicBezTo>
                    <a:pt x="686" y="799"/>
                    <a:pt x="683" y="798"/>
                    <a:pt x="681" y="797"/>
                  </a:cubicBezTo>
                  <a:lnTo>
                    <a:pt x="680" y="797"/>
                  </a:lnTo>
                  <a:cubicBezTo>
                    <a:pt x="678" y="797"/>
                    <a:pt x="675" y="797"/>
                    <a:pt x="673" y="797"/>
                  </a:cubicBezTo>
                  <a:cubicBezTo>
                    <a:pt x="570" y="811"/>
                    <a:pt x="551" y="791"/>
                    <a:pt x="549" y="787"/>
                  </a:cubicBezTo>
                  <a:cubicBezTo>
                    <a:pt x="544" y="779"/>
                    <a:pt x="551" y="764"/>
                    <a:pt x="553" y="760"/>
                  </a:cubicBezTo>
                  <a:cubicBezTo>
                    <a:pt x="559" y="750"/>
                    <a:pt x="604" y="665"/>
                    <a:pt x="555" y="631"/>
                  </a:cubicBezTo>
                  <a:cubicBezTo>
                    <a:pt x="525" y="610"/>
                    <a:pt x="508" y="627"/>
                    <a:pt x="499" y="635"/>
                  </a:cubicBezTo>
                  <a:cubicBezTo>
                    <a:pt x="490" y="644"/>
                    <a:pt x="479" y="654"/>
                    <a:pt x="443" y="656"/>
                  </a:cubicBezTo>
                  <a:cubicBezTo>
                    <a:pt x="443" y="656"/>
                    <a:pt x="442" y="656"/>
                    <a:pt x="441" y="656"/>
                  </a:cubicBezTo>
                  <a:cubicBezTo>
                    <a:pt x="450" y="645"/>
                    <a:pt x="460" y="632"/>
                    <a:pt x="465" y="615"/>
                  </a:cubicBezTo>
                  <a:cubicBezTo>
                    <a:pt x="472" y="592"/>
                    <a:pt x="470" y="572"/>
                    <a:pt x="459" y="557"/>
                  </a:cubicBezTo>
                  <a:cubicBezTo>
                    <a:pt x="448" y="541"/>
                    <a:pt x="428" y="532"/>
                    <a:pt x="403" y="530"/>
                  </a:cubicBezTo>
                  <a:cubicBezTo>
                    <a:pt x="395" y="530"/>
                    <a:pt x="387" y="530"/>
                    <a:pt x="379" y="530"/>
                  </a:cubicBezTo>
                  <a:cubicBezTo>
                    <a:pt x="364" y="530"/>
                    <a:pt x="347" y="530"/>
                    <a:pt x="342" y="525"/>
                  </a:cubicBezTo>
                  <a:cubicBezTo>
                    <a:pt x="339" y="523"/>
                    <a:pt x="338" y="517"/>
                    <a:pt x="338" y="508"/>
                  </a:cubicBezTo>
                  <a:cubicBezTo>
                    <a:pt x="338" y="500"/>
                    <a:pt x="339" y="497"/>
                    <a:pt x="339" y="497"/>
                  </a:cubicBezTo>
                  <a:cubicBezTo>
                    <a:pt x="345" y="494"/>
                    <a:pt x="373" y="497"/>
                    <a:pt x="387" y="499"/>
                  </a:cubicBezTo>
                  <a:cubicBezTo>
                    <a:pt x="399" y="501"/>
                    <a:pt x="434" y="505"/>
                    <a:pt x="450" y="481"/>
                  </a:cubicBezTo>
                  <a:cubicBezTo>
                    <a:pt x="470" y="453"/>
                    <a:pt x="450" y="413"/>
                    <a:pt x="426" y="366"/>
                  </a:cubicBezTo>
                  <a:cubicBezTo>
                    <a:pt x="422" y="359"/>
                    <a:pt x="418" y="352"/>
                    <a:pt x="415" y="345"/>
                  </a:cubicBezTo>
                  <a:cubicBezTo>
                    <a:pt x="406" y="326"/>
                    <a:pt x="404" y="310"/>
                    <a:pt x="411" y="294"/>
                  </a:cubicBezTo>
                  <a:cubicBezTo>
                    <a:pt x="420" y="271"/>
                    <a:pt x="445" y="251"/>
                    <a:pt x="482" y="237"/>
                  </a:cubicBezTo>
                  <a:cubicBezTo>
                    <a:pt x="519" y="223"/>
                    <a:pt x="542" y="206"/>
                    <a:pt x="551" y="185"/>
                  </a:cubicBezTo>
                  <a:cubicBezTo>
                    <a:pt x="560" y="164"/>
                    <a:pt x="553" y="144"/>
                    <a:pt x="547" y="131"/>
                  </a:cubicBezTo>
                  <a:cubicBezTo>
                    <a:pt x="541" y="118"/>
                    <a:pt x="536" y="104"/>
                    <a:pt x="531" y="91"/>
                  </a:cubicBezTo>
                  <a:cubicBezTo>
                    <a:pt x="589" y="100"/>
                    <a:pt x="642" y="123"/>
                    <a:pt x="688" y="155"/>
                  </a:cubicBezTo>
                  <a:cubicBezTo>
                    <a:pt x="626" y="237"/>
                    <a:pt x="593" y="285"/>
                    <a:pt x="590" y="297"/>
                  </a:cubicBezTo>
                  <a:cubicBezTo>
                    <a:pt x="585" y="315"/>
                    <a:pt x="595" y="337"/>
                    <a:pt x="607" y="349"/>
                  </a:cubicBezTo>
                  <a:cubicBezTo>
                    <a:pt x="619" y="362"/>
                    <a:pt x="634" y="368"/>
                    <a:pt x="649" y="365"/>
                  </a:cubicBezTo>
                  <a:cubicBezTo>
                    <a:pt x="660" y="362"/>
                    <a:pt x="675" y="365"/>
                    <a:pt x="679" y="369"/>
                  </a:cubicBezTo>
                  <a:cubicBezTo>
                    <a:pt x="681" y="371"/>
                    <a:pt x="681" y="376"/>
                    <a:pt x="679" y="384"/>
                  </a:cubicBezTo>
                  <a:cubicBezTo>
                    <a:pt x="671" y="412"/>
                    <a:pt x="664" y="439"/>
                    <a:pt x="682" y="454"/>
                  </a:cubicBezTo>
                  <a:cubicBezTo>
                    <a:pt x="698" y="469"/>
                    <a:pt x="721" y="462"/>
                    <a:pt x="743" y="452"/>
                  </a:cubicBezTo>
                  <a:cubicBezTo>
                    <a:pt x="763" y="444"/>
                    <a:pt x="765" y="446"/>
                    <a:pt x="772" y="453"/>
                  </a:cubicBezTo>
                  <a:cubicBezTo>
                    <a:pt x="777" y="458"/>
                    <a:pt x="783" y="464"/>
                    <a:pt x="792" y="468"/>
                  </a:cubicBezTo>
                  <a:cubicBezTo>
                    <a:pt x="795" y="469"/>
                    <a:pt x="798" y="471"/>
                    <a:pt x="804" y="471"/>
                  </a:cubicBezTo>
                  <a:cubicBezTo>
                    <a:pt x="813" y="471"/>
                    <a:pt x="829" y="466"/>
                    <a:pt x="851" y="443"/>
                  </a:cubicBezTo>
                  <a:cubicBezTo>
                    <a:pt x="852" y="451"/>
                    <a:pt x="852" y="460"/>
                    <a:pt x="852" y="469"/>
                  </a:cubicBezTo>
                  <a:cubicBezTo>
                    <a:pt x="852" y="557"/>
                    <a:pt x="821" y="643"/>
                    <a:pt x="765" y="712"/>
                  </a:cubicBezTo>
                  <a:cubicBezTo>
                    <a:pt x="757" y="722"/>
                    <a:pt x="748" y="732"/>
                    <a:pt x="738" y="742"/>
                  </a:cubicBezTo>
                  <a:cubicBezTo>
                    <a:pt x="730" y="750"/>
                    <a:pt x="730" y="763"/>
                    <a:pt x="738" y="772"/>
                  </a:cubicBezTo>
                  <a:cubicBezTo>
                    <a:pt x="742" y="776"/>
                    <a:pt x="748" y="778"/>
                    <a:pt x="753" y="778"/>
                  </a:cubicBezTo>
                  <a:cubicBezTo>
                    <a:pt x="759" y="778"/>
                    <a:pt x="764" y="776"/>
                    <a:pt x="768" y="772"/>
                  </a:cubicBezTo>
                  <a:cubicBezTo>
                    <a:pt x="779" y="761"/>
                    <a:pt x="789" y="750"/>
                    <a:pt x="798" y="739"/>
                  </a:cubicBezTo>
                  <a:cubicBezTo>
                    <a:pt x="861" y="663"/>
                    <a:pt x="895" y="567"/>
                    <a:pt x="895" y="469"/>
                  </a:cubicBezTo>
                  <a:cubicBezTo>
                    <a:pt x="894" y="235"/>
                    <a:pt x="703" y="43"/>
                    <a:pt x="467" y="43"/>
                  </a:cubicBezTo>
                  <a:close/>
                  <a:moveTo>
                    <a:pt x="85" y="82"/>
                  </a:moveTo>
                  <a:cubicBezTo>
                    <a:pt x="111" y="58"/>
                    <a:pt x="143" y="45"/>
                    <a:pt x="178" y="45"/>
                  </a:cubicBezTo>
                  <a:cubicBezTo>
                    <a:pt x="181" y="45"/>
                    <a:pt x="184" y="45"/>
                    <a:pt x="187" y="46"/>
                  </a:cubicBezTo>
                  <a:cubicBezTo>
                    <a:pt x="256" y="50"/>
                    <a:pt x="312" y="110"/>
                    <a:pt x="313" y="179"/>
                  </a:cubicBezTo>
                  <a:cubicBezTo>
                    <a:pt x="314" y="271"/>
                    <a:pt x="239" y="353"/>
                    <a:pt x="194" y="394"/>
                  </a:cubicBezTo>
                  <a:cubicBezTo>
                    <a:pt x="192" y="396"/>
                    <a:pt x="189" y="398"/>
                    <a:pt x="187" y="398"/>
                  </a:cubicBezTo>
                  <a:lnTo>
                    <a:pt x="186" y="399"/>
                  </a:lnTo>
                  <a:cubicBezTo>
                    <a:pt x="178" y="402"/>
                    <a:pt x="169" y="400"/>
                    <a:pt x="162" y="394"/>
                  </a:cubicBezTo>
                  <a:cubicBezTo>
                    <a:pt x="118" y="353"/>
                    <a:pt x="43" y="270"/>
                    <a:pt x="43" y="181"/>
                  </a:cubicBezTo>
                  <a:cubicBezTo>
                    <a:pt x="42" y="143"/>
                    <a:pt x="58" y="108"/>
                    <a:pt x="85" y="82"/>
                  </a:cubicBezTo>
                  <a:close/>
                  <a:moveTo>
                    <a:pt x="93" y="384"/>
                  </a:moveTo>
                  <a:cubicBezTo>
                    <a:pt x="107" y="400"/>
                    <a:pt x="121" y="414"/>
                    <a:pt x="134" y="426"/>
                  </a:cubicBezTo>
                  <a:cubicBezTo>
                    <a:pt x="139" y="431"/>
                    <a:pt x="146" y="435"/>
                    <a:pt x="153" y="438"/>
                  </a:cubicBezTo>
                  <a:lnTo>
                    <a:pt x="153" y="439"/>
                  </a:lnTo>
                  <a:cubicBezTo>
                    <a:pt x="145" y="463"/>
                    <a:pt x="148" y="490"/>
                    <a:pt x="162" y="515"/>
                  </a:cubicBezTo>
                  <a:cubicBezTo>
                    <a:pt x="167" y="524"/>
                    <a:pt x="173" y="531"/>
                    <a:pt x="178" y="537"/>
                  </a:cubicBezTo>
                  <a:cubicBezTo>
                    <a:pt x="187" y="548"/>
                    <a:pt x="187" y="548"/>
                    <a:pt x="182" y="556"/>
                  </a:cubicBezTo>
                  <a:cubicBezTo>
                    <a:pt x="170" y="575"/>
                    <a:pt x="146" y="622"/>
                    <a:pt x="130" y="654"/>
                  </a:cubicBezTo>
                  <a:cubicBezTo>
                    <a:pt x="100" y="599"/>
                    <a:pt x="83" y="536"/>
                    <a:pt x="83" y="470"/>
                  </a:cubicBezTo>
                  <a:cubicBezTo>
                    <a:pt x="83" y="441"/>
                    <a:pt x="86" y="412"/>
                    <a:pt x="93" y="384"/>
                  </a:cubicBezTo>
                  <a:close/>
                  <a:moveTo>
                    <a:pt x="508" y="149"/>
                  </a:moveTo>
                  <a:cubicBezTo>
                    <a:pt x="513" y="161"/>
                    <a:pt x="513" y="166"/>
                    <a:pt x="511" y="170"/>
                  </a:cubicBezTo>
                  <a:cubicBezTo>
                    <a:pt x="509" y="175"/>
                    <a:pt x="500" y="185"/>
                    <a:pt x="467" y="198"/>
                  </a:cubicBezTo>
                  <a:cubicBezTo>
                    <a:pt x="419" y="216"/>
                    <a:pt x="385" y="244"/>
                    <a:pt x="371" y="279"/>
                  </a:cubicBezTo>
                  <a:cubicBezTo>
                    <a:pt x="360" y="305"/>
                    <a:pt x="362" y="335"/>
                    <a:pt x="376" y="364"/>
                  </a:cubicBezTo>
                  <a:cubicBezTo>
                    <a:pt x="380" y="371"/>
                    <a:pt x="384" y="378"/>
                    <a:pt x="387" y="385"/>
                  </a:cubicBezTo>
                  <a:cubicBezTo>
                    <a:pt x="398" y="407"/>
                    <a:pt x="419" y="448"/>
                    <a:pt x="416" y="457"/>
                  </a:cubicBezTo>
                  <a:cubicBezTo>
                    <a:pt x="416" y="457"/>
                    <a:pt x="411" y="460"/>
                    <a:pt x="392" y="457"/>
                  </a:cubicBezTo>
                  <a:cubicBezTo>
                    <a:pt x="353" y="452"/>
                    <a:pt x="328" y="449"/>
                    <a:pt x="311" y="465"/>
                  </a:cubicBezTo>
                  <a:cubicBezTo>
                    <a:pt x="297" y="477"/>
                    <a:pt x="295" y="495"/>
                    <a:pt x="295" y="508"/>
                  </a:cubicBezTo>
                  <a:cubicBezTo>
                    <a:pt x="295" y="529"/>
                    <a:pt x="301" y="545"/>
                    <a:pt x="312" y="556"/>
                  </a:cubicBezTo>
                  <a:cubicBezTo>
                    <a:pt x="330" y="573"/>
                    <a:pt x="357" y="573"/>
                    <a:pt x="380" y="573"/>
                  </a:cubicBezTo>
                  <a:cubicBezTo>
                    <a:pt x="387" y="573"/>
                    <a:pt x="394" y="572"/>
                    <a:pt x="401" y="573"/>
                  </a:cubicBezTo>
                  <a:cubicBezTo>
                    <a:pt x="412" y="573"/>
                    <a:pt x="421" y="576"/>
                    <a:pt x="424" y="581"/>
                  </a:cubicBezTo>
                  <a:cubicBezTo>
                    <a:pt x="428" y="586"/>
                    <a:pt x="425" y="597"/>
                    <a:pt x="424" y="603"/>
                  </a:cubicBezTo>
                  <a:cubicBezTo>
                    <a:pt x="420" y="615"/>
                    <a:pt x="409" y="628"/>
                    <a:pt x="401" y="637"/>
                  </a:cubicBezTo>
                  <a:cubicBezTo>
                    <a:pt x="390" y="650"/>
                    <a:pt x="377" y="665"/>
                    <a:pt x="386" y="681"/>
                  </a:cubicBezTo>
                  <a:cubicBezTo>
                    <a:pt x="394" y="700"/>
                    <a:pt x="417" y="700"/>
                    <a:pt x="445" y="698"/>
                  </a:cubicBezTo>
                  <a:cubicBezTo>
                    <a:pt x="493" y="696"/>
                    <a:pt x="513" y="680"/>
                    <a:pt x="528" y="665"/>
                  </a:cubicBezTo>
                  <a:cubicBezTo>
                    <a:pt x="528" y="665"/>
                    <a:pt x="528" y="665"/>
                    <a:pt x="529" y="664"/>
                  </a:cubicBezTo>
                  <a:cubicBezTo>
                    <a:pt x="530" y="665"/>
                    <a:pt x="530" y="665"/>
                    <a:pt x="531" y="665"/>
                  </a:cubicBezTo>
                  <a:cubicBezTo>
                    <a:pt x="541" y="672"/>
                    <a:pt x="531" y="711"/>
                    <a:pt x="517" y="737"/>
                  </a:cubicBezTo>
                  <a:cubicBezTo>
                    <a:pt x="507" y="751"/>
                    <a:pt x="496" y="782"/>
                    <a:pt x="513" y="808"/>
                  </a:cubicBezTo>
                  <a:cubicBezTo>
                    <a:pt x="523" y="824"/>
                    <a:pt x="541" y="835"/>
                    <a:pt x="567" y="840"/>
                  </a:cubicBezTo>
                  <a:cubicBezTo>
                    <a:pt x="535" y="848"/>
                    <a:pt x="502" y="853"/>
                    <a:pt x="468" y="853"/>
                  </a:cubicBezTo>
                  <a:cubicBezTo>
                    <a:pt x="340" y="853"/>
                    <a:pt x="227" y="790"/>
                    <a:pt x="157" y="694"/>
                  </a:cubicBezTo>
                  <a:cubicBezTo>
                    <a:pt x="169" y="671"/>
                    <a:pt x="204" y="600"/>
                    <a:pt x="218" y="577"/>
                  </a:cubicBezTo>
                  <a:cubicBezTo>
                    <a:pt x="240" y="543"/>
                    <a:pt x="221" y="521"/>
                    <a:pt x="210" y="508"/>
                  </a:cubicBezTo>
                  <a:cubicBezTo>
                    <a:pt x="206" y="503"/>
                    <a:pt x="202" y="499"/>
                    <a:pt x="200" y="493"/>
                  </a:cubicBezTo>
                  <a:cubicBezTo>
                    <a:pt x="192" y="479"/>
                    <a:pt x="190" y="463"/>
                    <a:pt x="194" y="451"/>
                  </a:cubicBezTo>
                  <a:cubicBezTo>
                    <a:pt x="196" y="444"/>
                    <a:pt x="200" y="438"/>
                    <a:pt x="206" y="436"/>
                  </a:cubicBezTo>
                  <a:lnTo>
                    <a:pt x="206" y="435"/>
                  </a:lnTo>
                  <a:cubicBezTo>
                    <a:pt x="212" y="433"/>
                    <a:pt x="218" y="429"/>
                    <a:pt x="223" y="424"/>
                  </a:cubicBezTo>
                  <a:cubicBezTo>
                    <a:pt x="274" y="379"/>
                    <a:pt x="358" y="286"/>
                    <a:pt x="357" y="177"/>
                  </a:cubicBezTo>
                  <a:cubicBezTo>
                    <a:pt x="356" y="152"/>
                    <a:pt x="351" y="128"/>
                    <a:pt x="340" y="106"/>
                  </a:cubicBezTo>
                  <a:cubicBezTo>
                    <a:pt x="381" y="92"/>
                    <a:pt x="424" y="85"/>
                    <a:pt x="468" y="85"/>
                  </a:cubicBezTo>
                  <a:cubicBezTo>
                    <a:pt x="473" y="85"/>
                    <a:pt x="479" y="85"/>
                    <a:pt x="485" y="85"/>
                  </a:cubicBezTo>
                  <a:cubicBezTo>
                    <a:pt x="489" y="101"/>
                    <a:pt x="498" y="128"/>
                    <a:pt x="508" y="149"/>
                  </a:cubicBezTo>
                  <a:close/>
                  <a:moveTo>
                    <a:pt x="805" y="427"/>
                  </a:moveTo>
                  <a:cubicBezTo>
                    <a:pt x="804" y="427"/>
                    <a:pt x="803" y="426"/>
                    <a:pt x="802" y="425"/>
                  </a:cubicBezTo>
                  <a:cubicBezTo>
                    <a:pt x="788" y="410"/>
                    <a:pt x="769" y="396"/>
                    <a:pt x="726" y="414"/>
                  </a:cubicBezTo>
                  <a:cubicBezTo>
                    <a:pt x="721" y="416"/>
                    <a:pt x="717" y="418"/>
                    <a:pt x="714" y="419"/>
                  </a:cubicBezTo>
                  <a:cubicBezTo>
                    <a:pt x="715" y="414"/>
                    <a:pt x="716" y="407"/>
                    <a:pt x="719" y="397"/>
                  </a:cubicBezTo>
                  <a:cubicBezTo>
                    <a:pt x="728" y="369"/>
                    <a:pt x="719" y="351"/>
                    <a:pt x="710" y="341"/>
                  </a:cubicBezTo>
                  <a:cubicBezTo>
                    <a:pt x="687" y="316"/>
                    <a:pt x="645" y="323"/>
                    <a:pt x="641" y="324"/>
                  </a:cubicBezTo>
                  <a:cubicBezTo>
                    <a:pt x="638" y="323"/>
                    <a:pt x="631" y="313"/>
                    <a:pt x="631" y="309"/>
                  </a:cubicBezTo>
                  <a:cubicBezTo>
                    <a:pt x="637" y="296"/>
                    <a:pt x="680" y="238"/>
                    <a:pt x="721" y="182"/>
                  </a:cubicBezTo>
                  <a:cubicBezTo>
                    <a:pt x="782" y="235"/>
                    <a:pt x="825" y="307"/>
                    <a:pt x="843" y="388"/>
                  </a:cubicBezTo>
                  <a:cubicBezTo>
                    <a:pt x="829" y="405"/>
                    <a:pt x="813" y="422"/>
                    <a:pt x="805" y="42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24" name="Freeform 465">
              <a:extLst>
                <a:ext uri="{FF2B5EF4-FFF2-40B4-BE49-F238E27FC236}">
                  <a16:creationId xmlns:a16="http://schemas.microsoft.com/office/drawing/2014/main" id="{D0FA2553-CF2C-4288-B317-2F32D79E4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488" y="9785350"/>
              <a:ext cx="130175" cy="130175"/>
            </a:xfrm>
            <a:custGeom>
              <a:avLst/>
              <a:gdLst>
                <a:gd name="T0" fmla="*/ 129486 w 187"/>
                <a:gd name="T1" fmla="*/ 64743 h 187"/>
                <a:gd name="T2" fmla="*/ 64743 w 187"/>
                <a:gd name="T3" fmla="*/ 0 h 187"/>
                <a:gd name="T4" fmla="*/ 0 w 187"/>
                <a:gd name="T5" fmla="*/ 64743 h 187"/>
                <a:gd name="T6" fmla="*/ 64743 w 187"/>
                <a:gd name="T7" fmla="*/ 129486 h 187"/>
                <a:gd name="T8" fmla="*/ 129486 w 187"/>
                <a:gd name="T9" fmla="*/ 64743 h 187"/>
                <a:gd name="T10" fmla="*/ 29935 w 187"/>
                <a:gd name="T11" fmla="*/ 64743 h 187"/>
                <a:gd name="T12" fmla="*/ 64743 w 187"/>
                <a:gd name="T13" fmla="*/ 29935 h 187"/>
                <a:gd name="T14" fmla="*/ 99551 w 187"/>
                <a:gd name="T15" fmla="*/ 64743 h 187"/>
                <a:gd name="T16" fmla="*/ 64743 w 187"/>
                <a:gd name="T17" fmla="*/ 99551 h 187"/>
                <a:gd name="T18" fmla="*/ 29935 w 187"/>
                <a:gd name="T19" fmla="*/ 64743 h 18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87" h="187">
                  <a:moveTo>
                    <a:pt x="186" y="93"/>
                  </a:moveTo>
                  <a:cubicBezTo>
                    <a:pt x="186" y="42"/>
                    <a:pt x="144" y="0"/>
                    <a:pt x="93" y="0"/>
                  </a:cubicBezTo>
                  <a:cubicBezTo>
                    <a:pt x="42" y="0"/>
                    <a:pt x="0" y="42"/>
                    <a:pt x="0" y="93"/>
                  </a:cubicBezTo>
                  <a:cubicBezTo>
                    <a:pt x="0" y="145"/>
                    <a:pt x="42" y="186"/>
                    <a:pt x="93" y="186"/>
                  </a:cubicBezTo>
                  <a:cubicBezTo>
                    <a:pt x="144" y="186"/>
                    <a:pt x="186" y="145"/>
                    <a:pt x="186" y="93"/>
                  </a:cubicBezTo>
                  <a:close/>
                  <a:moveTo>
                    <a:pt x="43" y="93"/>
                  </a:moveTo>
                  <a:cubicBezTo>
                    <a:pt x="43" y="66"/>
                    <a:pt x="65" y="43"/>
                    <a:pt x="93" y="43"/>
                  </a:cubicBezTo>
                  <a:cubicBezTo>
                    <a:pt x="121" y="43"/>
                    <a:pt x="143" y="66"/>
                    <a:pt x="143" y="93"/>
                  </a:cubicBezTo>
                  <a:cubicBezTo>
                    <a:pt x="143" y="121"/>
                    <a:pt x="121" y="143"/>
                    <a:pt x="93" y="143"/>
                  </a:cubicBezTo>
                  <a:cubicBezTo>
                    <a:pt x="65" y="143"/>
                    <a:pt x="43" y="121"/>
                    <a:pt x="43" y="9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</p:grpSp>
      <p:grpSp>
        <p:nvGrpSpPr>
          <p:cNvPr id="25" name="Groupe 118">
            <a:extLst>
              <a:ext uri="{FF2B5EF4-FFF2-40B4-BE49-F238E27FC236}">
                <a16:creationId xmlns:a16="http://schemas.microsoft.com/office/drawing/2014/main" id="{28103FA2-F174-4EFE-A312-BB9B02CB97F3}"/>
              </a:ext>
            </a:extLst>
          </p:cNvPr>
          <p:cNvGrpSpPr>
            <a:grpSpLocks noChangeAspect="1"/>
          </p:cNvGrpSpPr>
          <p:nvPr/>
        </p:nvGrpSpPr>
        <p:grpSpPr>
          <a:xfrm>
            <a:off x="3321476" y="2622438"/>
            <a:ext cx="184781" cy="324000"/>
            <a:chOff x="8083550" y="7302500"/>
            <a:chExt cx="347663" cy="609600"/>
          </a:xfrm>
          <a:solidFill>
            <a:schemeClr val="bg1"/>
          </a:solidFill>
          <a:effectLst/>
        </p:grpSpPr>
        <p:sp>
          <p:nvSpPr>
            <p:cNvPr id="26" name="Freeform 324">
              <a:extLst>
                <a:ext uri="{FF2B5EF4-FFF2-40B4-BE49-F238E27FC236}">
                  <a16:creationId xmlns:a16="http://schemas.microsoft.com/office/drawing/2014/main" id="{7311FD3D-032E-4C11-837D-CB8BB58C4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3550" y="7302500"/>
              <a:ext cx="347663" cy="609600"/>
            </a:xfrm>
            <a:custGeom>
              <a:avLst/>
              <a:gdLst>
                <a:gd name="T0" fmla="*/ 304987 w 494"/>
                <a:gd name="T1" fmla="*/ 97191 h 867"/>
                <a:gd name="T2" fmla="*/ 249471 w 494"/>
                <a:gd name="T3" fmla="*/ 41553 h 867"/>
                <a:gd name="T4" fmla="*/ 172873 w 494"/>
                <a:gd name="T5" fmla="*/ 0 h 867"/>
                <a:gd name="T6" fmla="*/ 96977 w 494"/>
                <a:gd name="T7" fmla="*/ 41553 h 867"/>
                <a:gd name="T8" fmla="*/ 41461 w 494"/>
                <a:gd name="T9" fmla="*/ 97191 h 867"/>
                <a:gd name="T10" fmla="*/ 0 w 494"/>
                <a:gd name="T11" fmla="*/ 173958 h 867"/>
                <a:gd name="T12" fmla="*/ 41461 w 494"/>
                <a:gd name="T13" fmla="*/ 250020 h 867"/>
                <a:gd name="T14" fmla="*/ 96977 w 494"/>
                <a:gd name="T15" fmla="*/ 305658 h 867"/>
                <a:gd name="T16" fmla="*/ 106816 w 494"/>
                <a:gd name="T17" fmla="*/ 301432 h 867"/>
                <a:gd name="T18" fmla="*/ 21785 w 494"/>
                <a:gd name="T19" fmla="*/ 562721 h 867"/>
                <a:gd name="T20" fmla="*/ 64652 w 494"/>
                <a:gd name="T21" fmla="*/ 609908 h 867"/>
                <a:gd name="T22" fmla="*/ 186225 w 494"/>
                <a:gd name="T23" fmla="*/ 579624 h 867"/>
                <a:gd name="T24" fmla="*/ 247363 w 494"/>
                <a:gd name="T25" fmla="*/ 345802 h 867"/>
                <a:gd name="T26" fmla="*/ 158115 w 494"/>
                <a:gd name="T27" fmla="*/ 571172 h 867"/>
                <a:gd name="T28" fmla="*/ 144061 w 494"/>
                <a:gd name="T29" fmla="*/ 579624 h 867"/>
                <a:gd name="T30" fmla="*/ 52705 w 494"/>
                <a:gd name="T31" fmla="*/ 574694 h 867"/>
                <a:gd name="T32" fmla="*/ 132817 w 494"/>
                <a:gd name="T33" fmla="*/ 319039 h 867"/>
                <a:gd name="T34" fmla="*/ 172873 w 494"/>
                <a:gd name="T35" fmla="*/ 347211 h 867"/>
                <a:gd name="T36" fmla="*/ 249471 w 494"/>
                <a:gd name="T37" fmla="*/ 305658 h 867"/>
                <a:gd name="T38" fmla="*/ 304987 w 494"/>
                <a:gd name="T39" fmla="*/ 250724 h 867"/>
                <a:gd name="T40" fmla="*/ 346448 w 494"/>
                <a:gd name="T41" fmla="*/ 173958 h 867"/>
                <a:gd name="T42" fmla="*/ 308501 w 494"/>
                <a:gd name="T43" fmla="*/ 185226 h 867"/>
                <a:gd name="T44" fmla="*/ 274067 w 494"/>
                <a:gd name="T45" fmla="*/ 274670 h 867"/>
                <a:gd name="T46" fmla="*/ 184819 w 494"/>
                <a:gd name="T47" fmla="*/ 309884 h 867"/>
                <a:gd name="T48" fmla="*/ 161629 w 494"/>
                <a:gd name="T49" fmla="*/ 309884 h 867"/>
                <a:gd name="T50" fmla="*/ 139844 w 494"/>
                <a:gd name="T51" fmla="*/ 278895 h 867"/>
                <a:gd name="T52" fmla="*/ 94166 w 494"/>
                <a:gd name="T53" fmla="*/ 274670 h 867"/>
                <a:gd name="T54" fmla="*/ 72382 w 494"/>
                <a:gd name="T55" fmla="*/ 274670 h 867"/>
                <a:gd name="T56" fmla="*/ 37948 w 494"/>
                <a:gd name="T57" fmla="*/ 185226 h 867"/>
                <a:gd name="T58" fmla="*/ 37948 w 494"/>
                <a:gd name="T59" fmla="*/ 161985 h 867"/>
                <a:gd name="T60" fmla="*/ 72382 w 494"/>
                <a:gd name="T61" fmla="*/ 72541 h 867"/>
                <a:gd name="T62" fmla="*/ 162332 w 494"/>
                <a:gd name="T63" fmla="*/ 37327 h 867"/>
                <a:gd name="T64" fmla="*/ 184819 w 494"/>
                <a:gd name="T65" fmla="*/ 37327 h 867"/>
                <a:gd name="T66" fmla="*/ 274769 w 494"/>
                <a:gd name="T67" fmla="*/ 72541 h 867"/>
                <a:gd name="T68" fmla="*/ 309203 w 494"/>
                <a:gd name="T69" fmla="*/ 161985 h 867"/>
                <a:gd name="T70" fmla="*/ 308501 w 494"/>
                <a:gd name="T71" fmla="*/ 185226 h 8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494" h="867">
                  <a:moveTo>
                    <a:pt x="456" y="191"/>
                  </a:moveTo>
                  <a:cubicBezTo>
                    <a:pt x="435" y="182"/>
                    <a:pt x="425" y="158"/>
                    <a:pt x="434" y="138"/>
                  </a:cubicBezTo>
                  <a:cubicBezTo>
                    <a:pt x="443" y="115"/>
                    <a:pt x="438" y="90"/>
                    <a:pt x="421" y="72"/>
                  </a:cubicBezTo>
                  <a:cubicBezTo>
                    <a:pt x="403" y="55"/>
                    <a:pt x="378" y="50"/>
                    <a:pt x="355" y="59"/>
                  </a:cubicBezTo>
                  <a:cubicBezTo>
                    <a:pt x="335" y="68"/>
                    <a:pt x="311" y="58"/>
                    <a:pt x="302" y="37"/>
                  </a:cubicBezTo>
                  <a:cubicBezTo>
                    <a:pt x="292" y="14"/>
                    <a:pt x="270" y="0"/>
                    <a:pt x="246" y="0"/>
                  </a:cubicBezTo>
                  <a:cubicBezTo>
                    <a:pt x="221" y="0"/>
                    <a:pt x="200" y="14"/>
                    <a:pt x="191" y="37"/>
                  </a:cubicBezTo>
                  <a:cubicBezTo>
                    <a:pt x="182" y="58"/>
                    <a:pt x="158" y="68"/>
                    <a:pt x="138" y="59"/>
                  </a:cubicBezTo>
                  <a:cubicBezTo>
                    <a:pt x="115" y="50"/>
                    <a:pt x="89" y="55"/>
                    <a:pt x="72" y="72"/>
                  </a:cubicBezTo>
                  <a:cubicBezTo>
                    <a:pt x="54" y="90"/>
                    <a:pt x="49" y="115"/>
                    <a:pt x="59" y="138"/>
                  </a:cubicBezTo>
                  <a:cubicBezTo>
                    <a:pt x="68" y="158"/>
                    <a:pt x="58" y="182"/>
                    <a:pt x="37" y="191"/>
                  </a:cubicBezTo>
                  <a:cubicBezTo>
                    <a:pt x="14" y="201"/>
                    <a:pt x="0" y="223"/>
                    <a:pt x="0" y="247"/>
                  </a:cubicBezTo>
                  <a:cubicBezTo>
                    <a:pt x="0" y="272"/>
                    <a:pt x="14" y="293"/>
                    <a:pt x="37" y="302"/>
                  </a:cubicBezTo>
                  <a:cubicBezTo>
                    <a:pt x="58" y="311"/>
                    <a:pt x="68" y="335"/>
                    <a:pt x="59" y="355"/>
                  </a:cubicBezTo>
                  <a:cubicBezTo>
                    <a:pt x="50" y="378"/>
                    <a:pt x="54" y="404"/>
                    <a:pt x="72" y="421"/>
                  </a:cubicBezTo>
                  <a:cubicBezTo>
                    <a:pt x="89" y="439"/>
                    <a:pt x="115" y="443"/>
                    <a:pt x="138" y="434"/>
                  </a:cubicBezTo>
                  <a:lnTo>
                    <a:pt x="149" y="429"/>
                  </a:lnTo>
                  <a:cubicBezTo>
                    <a:pt x="150" y="429"/>
                    <a:pt x="151" y="429"/>
                    <a:pt x="152" y="428"/>
                  </a:cubicBezTo>
                  <a:lnTo>
                    <a:pt x="32" y="798"/>
                  </a:lnTo>
                  <a:cubicBezTo>
                    <a:pt x="32" y="798"/>
                    <a:pt x="32" y="799"/>
                    <a:pt x="31" y="799"/>
                  </a:cubicBezTo>
                  <a:cubicBezTo>
                    <a:pt x="28" y="814"/>
                    <a:pt x="31" y="830"/>
                    <a:pt x="41" y="842"/>
                  </a:cubicBezTo>
                  <a:cubicBezTo>
                    <a:pt x="53" y="857"/>
                    <a:pt x="72" y="866"/>
                    <a:pt x="92" y="866"/>
                  </a:cubicBezTo>
                  <a:lnTo>
                    <a:pt x="205" y="866"/>
                  </a:lnTo>
                  <a:cubicBezTo>
                    <a:pt x="234" y="866"/>
                    <a:pt x="259" y="848"/>
                    <a:pt x="265" y="823"/>
                  </a:cubicBezTo>
                  <a:lnTo>
                    <a:pt x="366" y="518"/>
                  </a:lnTo>
                  <a:cubicBezTo>
                    <a:pt x="369" y="507"/>
                    <a:pt x="363" y="495"/>
                    <a:pt x="352" y="491"/>
                  </a:cubicBezTo>
                  <a:cubicBezTo>
                    <a:pt x="341" y="488"/>
                    <a:pt x="329" y="494"/>
                    <a:pt x="325" y="505"/>
                  </a:cubicBezTo>
                  <a:lnTo>
                    <a:pt x="225" y="811"/>
                  </a:lnTo>
                  <a:cubicBezTo>
                    <a:pt x="224" y="811"/>
                    <a:pt x="224" y="812"/>
                    <a:pt x="224" y="812"/>
                  </a:cubicBezTo>
                  <a:cubicBezTo>
                    <a:pt x="223" y="817"/>
                    <a:pt x="215" y="823"/>
                    <a:pt x="205" y="823"/>
                  </a:cubicBezTo>
                  <a:lnTo>
                    <a:pt x="92" y="823"/>
                  </a:lnTo>
                  <a:cubicBezTo>
                    <a:pt x="84" y="823"/>
                    <a:pt x="77" y="819"/>
                    <a:pt x="75" y="816"/>
                  </a:cubicBezTo>
                  <a:cubicBezTo>
                    <a:pt x="73" y="813"/>
                    <a:pt x="73" y="811"/>
                    <a:pt x="73" y="810"/>
                  </a:cubicBezTo>
                  <a:lnTo>
                    <a:pt x="189" y="453"/>
                  </a:lnTo>
                  <a:lnTo>
                    <a:pt x="191" y="456"/>
                  </a:lnTo>
                  <a:cubicBezTo>
                    <a:pt x="200" y="479"/>
                    <a:pt x="221" y="493"/>
                    <a:pt x="246" y="493"/>
                  </a:cubicBezTo>
                  <a:cubicBezTo>
                    <a:pt x="271" y="493"/>
                    <a:pt x="292" y="479"/>
                    <a:pt x="302" y="456"/>
                  </a:cubicBezTo>
                  <a:cubicBezTo>
                    <a:pt x="310" y="436"/>
                    <a:pt x="334" y="426"/>
                    <a:pt x="355" y="434"/>
                  </a:cubicBezTo>
                  <a:cubicBezTo>
                    <a:pt x="378" y="443"/>
                    <a:pt x="403" y="439"/>
                    <a:pt x="421" y="421"/>
                  </a:cubicBezTo>
                  <a:cubicBezTo>
                    <a:pt x="438" y="404"/>
                    <a:pt x="443" y="379"/>
                    <a:pt x="434" y="356"/>
                  </a:cubicBezTo>
                  <a:cubicBezTo>
                    <a:pt x="425" y="335"/>
                    <a:pt x="435" y="311"/>
                    <a:pt x="456" y="302"/>
                  </a:cubicBezTo>
                  <a:cubicBezTo>
                    <a:pt x="478" y="293"/>
                    <a:pt x="493" y="272"/>
                    <a:pt x="493" y="247"/>
                  </a:cubicBezTo>
                  <a:cubicBezTo>
                    <a:pt x="493" y="222"/>
                    <a:pt x="479" y="201"/>
                    <a:pt x="456" y="191"/>
                  </a:cubicBezTo>
                  <a:close/>
                  <a:moveTo>
                    <a:pt x="439" y="263"/>
                  </a:moveTo>
                  <a:cubicBezTo>
                    <a:pt x="397" y="280"/>
                    <a:pt x="377" y="329"/>
                    <a:pt x="394" y="371"/>
                  </a:cubicBezTo>
                  <a:cubicBezTo>
                    <a:pt x="399" y="381"/>
                    <a:pt x="392" y="388"/>
                    <a:pt x="390" y="390"/>
                  </a:cubicBezTo>
                  <a:cubicBezTo>
                    <a:pt x="388" y="392"/>
                    <a:pt x="381" y="398"/>
                    <a:pt x="371" y="394"/>
                  </a:cubicBezTo>
                  <a:cubicBezTo>
                    <a:pt x="329" y="377"/>
                    <a:pt x="280" y="397"/>
                    <a:pt x="263" y="440"/>
                  </a:cubicBezTo>
                  <a:cubicBezTo>
                    <a:pt x="258" y="450"/>
                    <a:pt x="248" y="450"/>
                    <a:pt x="246" y="450"/>
                  </a:cubicBezTo>
                  <a:cubicBezTo>
                    <a:pt x="243" y="450"/>
                    <a:pt x="234" y="449"/>
                    <a:pt x="230" y="440"/>
                  </a:cubicBezTo>
                  <a:lnTo>
                    <a:pt x="226" y="428"/>
                  </a:lnTo>
                  <a:cubicBezTo>
                    <a:pt x="220" y="415"/>
                    <a:pt x="211" y="404"/>
                    <a:pt x="199" y="396"/>
                  </a:cubicBezTo>
                  <a:cubicBezTo>
                    <a:pt x="187" y="388"/>
                    <a:pt x="174" y="384"/>
                    <a:pt x="160" y="384"/>
                  </a:cubicBezTo>
                  <a:cubicBezTo>
                    <a:pt x="151" y="384"/>
                    <a:pt x="142" y="386"/>
                    <a:pt x="134" y="390"/>
                  </a:cubicBezTo>
                  <a:lnTo>
                    <a:pt x="122" y="394"/>
                  </a:lnTo>
                  <a:cubicBezTo>
                    <a:pt x="112" y="399"/>
                    <a:pt x="105" y="392"/>
                    <a:pt x="103" y="390"/>
                  </a:cubicBezTo>
                  <a:cubicBezTo>
                    <a:pt x="101" y="388"/>
                    <a:pt x="95" y="381"/>
                    <a:pt x="99" y="371"/>
                  </a:cubicBezTo>
                  <a:cubicBezTo>
                    <a:pt x="116" y="329"/>
                    <a:pt x="96" y="280"/>
                    <a:pt x="54" y="263"/>
                  </a:cubicBezTo>
                  <a:cubicBezTo>
                    <a:pt x="44" y="258"/>
                    <a:pt x="43" y="249"/>
                    <a:pt x="43" y="247"/>
                  </a:cubicBezTo>
                  <a:cubicBezTo>
                    <a:pt x="43" y="244"/>
                    <a:pt x="44" y="234"/>
                    <a:pt x="54" y="230"/>
                  </a:cubicBezTo>
                  <a:cubicBezTo>
                    <a:pt x="96" y="213"/>
                    <a:pt x="116" y="164"/>
                    <a:pt x="99" y="122"/>
                  </a:cubicBezTo>
                  <a:cubicBezTo>
                    <a:pt x="95" y="112"/>
                    <a:pt x="101" y="105"/>
                    <a:pt x="103" y="103"/>
                  </a:cubicBezTo>
                  <a:cubicBezTo>
                    <a:pt x="105" y="101"/>
                    <a:pt x="112" y="95"/>
                    <a:pt x="122" y="99"/>
                  </a:cubicBezTo>
                  <a:cubicBezTo>
                    <a:pt x="164" y="116"/>
                    <a:pt x="213" y="96"/>
                    <a:pt x="231" y="53"/>
                  </a:cubicBezTo>
                  <a:cubicBezTo>
                    <a:pt x="235" y="43"/>
                    <a:pt x="244" y="43"/>
                    <a:pt x="247" y="43"/>
                  </a:cubicBezTo>
                  <a:cubicBezTo>
                    <a:pt x="249" y="43"/>
                    <a:pt x="259" y="44"/>
                    <a:pt x="263" y="53"/>
                  </a:cubicBezTo>
                  <a:cubicBezTo>
                    <a:pt x="280" y="96"/>
                    <a:pt x="329" y="116"/>
                    <a:pt x="371" y="99"/>
                  </a:cubicBezTo>
                  <a:cubicBezTo>
                    <a:pt x="382" y="94"/>
                    <a:pt x="389" y="101"/>
                    <a:pt x="391" y="103"/>
                  </a:cubicBezTo>
                  <a:cubicBezTo>
                    <a:pt x="393" y="105"/>
                    <a:pt x="399" y="112"/>
                    <a:pt x="395" y="122"/>
                  </a:cubicBezTo>
                  <a:cubicBezTo>
                    <a:pt x="377" y="164"/>
                    <a:pt x="397" y="213"/>
                    <a:pt x="440" y="230"/>
                  </a:cubicBezTo>
                  <a:cubicBezTo>
                    <a:pt x="450" y="235"/>
                    <a:pt x="450" y="244"/>
                    <a:pt x="450" y="247"/>
                  </a:cubicBezTo>
                  <a:cubicBezTo>
                    <a:pt x="450" y="249"/>
                    <a:pt x="449" y="259"/>
                    <a:pt x="439" y="26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27" name="Freeform 325">
              <a:extLst>
                <a:ext uri="{FF2B5EF4-FFF2-40B4-BE49-F238E27FC236}">
                  <a16:creationId xmlns:a16="http://schemas.microsoft.com/office/drawing/2014/main" id="{4F43372F-4D8D-4D74-92F0-966311FF50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3563" y="7400925"/>
              <a:ext cx="152400" cy="152400"/>
            </a:xfrm>
            <a:custGeom>
              <a:avLst/>
              <a:gdLst>
                <a:gd name="T0" fmla="*/ 75237 w 216"/>
                <a:gd name="T1" fmla="*/ 0 h 216"/>
                <a:gd name="T2" fmla="*/ 0 w 216"/>
                <a:gd name="T3" fmla="*/ 75939 h 216"/>
                <a:gd name="T4" fmla="*/ 75237 w 216"/>
                <a:gd name="T5" fmla="*/ 151174 h 216"/>
                <a:gd name="T6" fmla="*/ 151177 w 216"/>
                <a:gd name="T7" fmla="*/ 75939 h 216"/>
                <a:gd name="T8" fmla="*/ 75237 w 216"/>
                <a:gd name="T9" fmla="*/ 0 h 216"/>
                <a:gd name="T10" fmla="*/ 75237 w 216"/>
                <a:gd name="T11" fmla="*/ 121642 h 216"/>
                <a:gd name="T12" fmla="*/ 29532 w 216"/>
                <a:gd name="T13" fmla="*/ 75939 h 216"/>
                <a:gd name="T14" fmla="*/ 75237 w 216"/>
                <a:gd name="T15" fmla="*/ 29532 h 216"/>
                <a:gd name="T16" fmla="*/ 121645 w 216"/>
                <a:gd name="T17" fmla="*/ 75939 h 216"/>
                <a:gd name="T18" fmla="*/ 75237 w 216"/>
                <a:gd name="T19" fmla="*/ 121642 h 2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16" h="216">
                  <a:moveTo>
                    <a:pt x="107" y="0"/>
                  </a:moveTo>
                  <a:cubicBezTo>
                    <a:pt x="48" y="0"/>
                    <a:pt x="0" y="48"/>
                    <a:pt x="0" y="108"/>
                  </a:cubicBezTo>
                  <a:cubicBezTo>
                    <a:pt x="0" y="167"/>
                    <a:pt x="47" y="215"/>
                    <a:pt x="107" y="215"/>
                  </a:cubicBezTo>
                  <a:cubicBezTo>
                    <a:pt x="166" y="215"/>
                    <a:pt x="215" y="167"/>
                    <a:pt x="215" y="108"/>
                  </a:cubicBezTo>
                  <a:cubicBezTo>
                    <a:pt x="215" y="48"/>
                    <a:pt x="167" y="0"/>
                    <a:pt x="107" y="0"/>
                  </a:cubicBezTo>
                  <a:close/>
                  <a:moveTo>
                    <a:pt x="107" y="173"/>
                  </a:moveTo>
                  <a:cubicBezTo>
                    <a:pt x="72" y="173"/>
                    <a:pt x="42" y="144"/>
                    <a:pt x="42" y="108"/>
                  </a:cubicBezTo>
                  <a:cubicBezTo>
                    <a:pt x="42" y="73"/>
                    <a:pt x="71" y="42"/>
                    <a:pt x="107" y="42"/>
                  </a:cubicBezTo>
                  <a:cubicBezTo>
                    <a:pt x="142" y="42"/>
                    <a:pt x="173" y="72"/>
                    <a:pt x="173" y="108"/>
                  </a:cubicBezTo>
                  <a:cubicBezTo>
                    <a:pt x="173" y="143"/>
                    <a:pt x="144" y="173"/>
                    <a:pt x="107" y="17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28" name="Freeform 326">
              <a:extLst>
                <a:ext uri="{FF2B5EF4-FFF2-40B4-BE49-F238E27FC236}">
                  <a16:creationId xmlns:a16="http://schemas.microsoft.com/office/drawing/2014/main" id="{F153E62B-250C-498E-A702-1C7976E85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4688" y="7715250"/>
              <a:ext cx="120650" cy="195263"/>
            </a:xfrm>
            <a:custGeom>
              <a:avLst/>
              <a:gdLst>
                <a:gd name="T0" fmla="*/ 117329 w 170"/>
                <a:gd name="T1" fmla="*/ 146456 h 280"/>
                <a:gd name="T2" fmla="*/ 65420 w 170"/>
                <a:gd name="T3" fmla="*/ 11159 h 280"/>
                <a:gd name="T4" fmla="*/ 45509 w 170"/>
                <a:gd name="T5" fmla="*/ 2790 h 280"/>
                <a:gd name="T6" fmla="*/ 36976 w 170"/>
                <a:gd name="T7" fmla="*/ 21620 h 280"/>
                <a:gd name="T8" fmla="*/ 88174 w 170"/>
                <a:gd name="T9" fmla="*/ 156219 h 280"/>
                <a:gd name="T10" fmla="*/ 86752 w 170"/>
                <a:gd name="T11" fmla="*/ 159706 h 280"/>
                <a:gd name="T12" fmla="*/ 74664 w 170"/>
                <a:gd name="T13" fmla="*/ 164588 h 280"/>
                <a:gd name="T14" fmla="*/ 15644 w 170"/>
                <a:gd name="T15" fmla="*/ 164588 h 280"/>
                <a:gd name="T16" fmla="*/ 0 w 170"/>
                <a:gd name="T17" fmla="*/ 179931 h 280"/>
                <a:gd name="T18" fmla="*/ 15644 w 170"/>
                <a:gd name="T19" fmla="*/ 194577 h 280"/>
                <a:gd name="T20" fmla="*/ 74664 w 170"/>
                <a:gd name="T21" fmla="*/ 194577 h 280"/>
                <a:gd name="T22" fmla="*/ 110929 w 170"/>
                <a:gd name="T23" fmla="*/ 177839 h 280"/>
                <a:gd name="T24" fmla="*/ 117329 w 170"/>
                <a:gd name="T25" fmla="*/ 148548 h 280"/>
                <a:gd name="T26" fmla="*/ 117329 w 170"/>
                <a:gd name="T27" fmla="*/ 146456 h 28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70" h="280">
                  <a:moveTo>
                    <a:pt x="165" y="210"/>
                  </a:moveTo>
                  <a:lnTo>
                    <a:pt x="92" y="16"/>
                  </a:lnTo>
                  <a:cubicBezTo>
                    <a:pt x="87" y="5"/>
                    <a:pt x="75" y="0"/>
                    <a:pt x="64" y="4"/>
                  </a:cubicBezTo>
                  <a:cubicBezTo>
                    <a:pt x="53" y="8"/>
                    <a:pt x="48" y="20"/>
                    <a:pt x="52" y="31"/>
                  </a:cubicBezTo>
                  <a:lnTo>
                    <a:pt x="124" y="224"/>
                  </a:lnTo>
                  <a:cubicBezTo>
                    <a:pt x="124" y="225"/>
                    <a:pt x="124" y="227"/>
                    <a:pt x="122" y="229"/>
                  </a:cubicBezTo>
                  <a:cubicBezTo>
                    <a:pt x="119" y="233"/>
                    <a:pt x="114" y="236"/>
                    <a:pt x="105" y="236"/>
                  </a:cubicBezTo>
                  <a:lnTo>
                    <a:pt x="22" y="236"/>
                  </a:lnTo>
                  <a:cubicBezTo>
                    <a:pt x="10" y="236"/>
                    <a:pt x="0" y="247"/>
                    <a:pt x="0" y="258"/>
                  </a:cubicBezTo>
                  <a:cubicBezTo>
                    <a:pt x="0" y="270"/>
                    <a:pt x="10" y="279"/>
                    <a:pt x="22" y="279"/>
                  </a:cubicBezTo>
                  <a:lnTo>
                    <a:pt x="105" y="279"/>
                  </a:lnTo>
                  <a:cubicBezTo>
                    <a:pt x="125" y="279"/>
                    <a:pt x="144" y="270"/>
                    <a:pt x="156" y="255"/>
                  </a:cubicBezTo>
                  <a:cubicBezTo>
                    <a:pt x="165" y="243"/>
                    <a:pt x="169" y="227"/>
                    <a:pt x="165" y="213"/>
                  </a:cubicBezTo>
                  <a:cubicBezTo>
                    <a:pt x="165" y="212"/>
                    <a:pt x="165" y="211"/>
                    <a:pt x="165" y="21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</p:grpSp>
      <p:sp>
        <p:nvSpPr>
          <p:cNvPr id="32" name="Freeform 493">
            <a:extLst>
              <a:ext uri="{FF2B5EF4-FFF2-40B4-BE49-F238E27FC236}">
                <a16:creationId xmlns:a16="http://schemas.microsoft.com/office/drawing/2014/main" id="{C6B6FC9A-6340-4065-93D1-853FA2E1B6F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267412" y="1705584"/>
            <a:ext cx="292909" cy="324000"/>
          </a:xfrm>
          <a:custGeom>
            <a:avLst/>
            <a:gdLst>
              <a:gd name="T0" fmla="*/ 418024 w 806"/>
              <a:gd name="T1" fmla="*/ 296306 h 894"/>
              <a:gd name="T2" fmla="*/ 409579 w 806"/>
              <a:gd name="T3" fmla="*/ 49267 h 894"/>
              <a:gd name="T4" fmla="*/ 318092 w 806"/>
              <a:gd name="T5" fmla="*/ 1408 h 894"/>
              <a:gd name="T6" fmla="*/ 312463 w 806"/>
              <a:gd name="T7" fmla="*/ 0 h 894"/>
              <a:gd name="T8" fmla="*/ 306833 w 806"/>
              <a:gd name="T9" fmla="*/ 704 h 894"/>
              <a:gd name="T10" fmla="*/ 187196 w 806"/>
              <a:gd name="T11" fmla="*/ 71789 h 894"/>
              <a:gd name="T12" fmla="*/ 180159 w 806"/>
              <a:gd name="T13" fmla="*/ 296306 h 894"/>
              <a:gd name="T14" fmla="*/ 0 w 806"/>
              <a:gd name="T15" fmla="*/ 354019 h 894"/>
              <a:gd name="T16" fmla="*/ 11260 w 806"/>
              <a:gd name="T17" fmla="*/ 552494 h 894"/>
              <a:gd name="T18" fmla="*/ 311759 w 806"/>
              <a:gd name="T19" fmla="*/ 628506 h 894"/>
              <a:gd name="T20" fmla="*/ 358206 w 806"/>
              <a:gd name="T21" fmla="*/ 615134 h 894"/>
              <a:gd name="T22" fmla="*/ 349057 w 806"/>
              <a:gd name="T23" fmla="*/ 586277 h 894"/>
              <a:gd name="T24" fmla="*/ 326537 w 806"/>
              <a:gd name="T25" fmla="*/ 298417 h 894"/>
              <a:gd name="T26" fmla="*/ 536957 w 806"/>
              <a:gd name="T27" fmla="*/ 527157 h 894"/>
              <a:gd name="T28" fmla="*/ 404653 w 806"/>
              <a:gd name="T29" fmla="*/ 584166 h 894"/>
              <a:gd name="T30" fmla="*/ 555958 w 806"/>
              <a:gd name="T31" fmla="*/ 551790 h 894"/>
              <a:gd name="T32" fmla="*/ 566514 w 806"/>
              <a:gd name="T33" fmla="*/ 354019 h 894"/>
              <a:gd name="T34" fmla="*/ 387763 w 806"/>
              <a:gd name="T35" fmla="*/ 286452 h 894"/>
              <a:gd name="T36" fmla="*/ 326537 w 806"/>
              <a:gd name="T37" fmla="*/ 39414 h 894"/>
              <a:gd name="T38" fmla="*/ 387763 w 806"/>
              <a:gd name="T39" fmla="*/ 286452 h 894"/>
              <a:gd name="T40" fmla="*/ 96413 w 806"/>
              <a:gd name="T41" fmla="*/ 455368 h 894"/>
              <a:gd name="T42" fmla="*/ 30261 w 806"/>
              <a:gd name="T43" fmla="*/ 468037 h 894"/>
              <a:gd name="T44" fmla="*/ 148490 w 806"/>
              <a:gd name="T45" fmla="*/ 414547 h 894"/>
              <a:gd name="T46" fmla="*/ 163269 w 806"/>
              <a:gd name="T47" fmla="*/ 443403 h 894"/>
              <a:gd name="T48" fmla="*/ 178047 w 806"/>
              <a:gd name="T49" fmla="*/ 411731 h 894"/>
              <a:gd name="T50" fmla="*/ 219568 w 806"/>
              <a:gd name="T51" fmla="*/ 484224 h 894"/>
              <a:gd name="T52" fmla="*/ 126674 w 806"/>
              <a:gd name="T53" fmla="*/ 455368 h 894"/>
              <a:gd name="T54" fmla="*/ 249126 w 806"/>
              <a:gd name="T55" fmla="*/ 487040 h 894"/>
              <a:gd name="T56" fmla="*/ 270238 w 806"/>
              <a:gd name="T57" fmla="*/ 401174 h 894"/>
              <a:gd name="T58" fmla="*/ 266719 w 806"/>
              <a:gd name="T59" fmla="*/ 371614 h 894"/>
              <a:gd name="T60" fmla="*/ 249126 w 806"/>
              <a:gd name="T61" fmla="*/ 309678 h 894"/>
              <a:gd name="T62" fmla="*/ 296980 w 806"/>
              <a:gd name="T63" fmla="*/ 490559 h 894"/>
              <a:gd name="T64" fmla="*/ 219568 w 806"/>
              <a:gd name="T65" fmla="*/ 317420 h 894"/>
              <a:gd name="T66" fmla="*/ 178047 w 806"/>
              <a:gd name="T67" fmla="*/ 381467 h 894"/>
              <a:gd name="T68" fmla="*/ 219568 w 806"/>
              <a:gd name="T69" fmla="*/ 317420 h 894"/>
              <a:gd name="T70" fmla="*/ 296980 w 806"/>
              <a:gd name="T71" fmla="*/ 594723 h 894"/>
              <a:gd name="T72" fmla="*/ 126674 w 806"/>
              <a:gd name="T73" fmla="*/ 506746 h 894"/>
              <a:gd name="T74" fmla="*/ 210420 w 806"/>
              <a:gd name="T75" fmla="*/ 288564 h 894"/>
              <a:gd name="T76" fmla="*/ 296980 w 806"/>
              <a:gd name="T77" fmla="*/ 40821 h 894"/>
              <a:gd name="T78" fmla="*/ 272349 w 806"/>
              <a:gd name="T79" fmla="*/ 272376 h 894"/>
              <a:gd name="T80" fmla="*/ 148490 w 806"/>
              <a:gd name="T81" fmla="*/ 335016 h 894"/>
              <a:gd name="T82" fmla="*/ 29557 w 806"/>
              <a:gd name="T83" fmla="*/ 398359 h 894"/>
              <a:gd name="T84" fmla="*/ 148490 w 806"/>
              <a:gd name="T85" fmla="*/ 335016 h 894"/>
              <a:gd name="T86" fmla="*/ 96413 w 806"/>
              <a:gd name="T87" fmla="*/ 503931 h 894"/>
              <a:gd name="T88" fmla="*/ 29557 w 806"/>
              <a:gd name="T89" fmla="*/ 526453 h 89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806" h="894">
                <a:moveTo>
                  <a:pt x="790" y="483"/>
                </a:moveTo>
                <a:lnTo>
                  <a:pt x="594" y="421"/>
                </a:lnTo>
                <a:lnTo>
                  <a:pt x="594" y="89"/>
                </a:lnTo>
                <a:cubicBezTo>
                  <a:pt x="594" y="81"/>
                  <a:pt x="590" y="74"/>
                  <a:pt x="582" y="70"/>
                </a:cubicBezTo>
                <a:lnTo>
                  <a:pt x="453" y="2"/>
                </a:lnTo>
                <a:cubicBezTo>
                  <a:pt x="452" y="2"/>
                  <a:pt x="452" y="2"/>
                  <a:pt x="452" y="2"/>
                </a:cubicBezTo>
                <a:cubicBezTo>
                  <a:pt x="450" y="1"/>
                  <a:pt x="448" y="0"/>
                  <a:pt x="446" y="0"/>
                </a:cubicBezTo>
                <a:cubicBezTo>
                  <a:pt x="445" y="0"/>
                  <a:pt x="444" y="0"/>
                  <a:pt x="444" y="0"/>
                </a:cubicBezTo>
                <a:cubicBezTo>
                  <a:pt x="442" y="0"/>
                  <a:pt x="439" y="0"/>
                  <a:pt x="437" y="1"/>
                </a:cubicBezTo>
                <a:lnTo>
                  <a:pt x="436" y="1"/>
                </a:lnTo>
                <a:cubicBezTo>
                  <a:pt x="435" y="2"/>
                  <a:pt x="433" y="2"/>
                  <a:pt x="432" y="3"/>
                </a:cubicBezTo>
                <a:lnTo>
                  <a:pt x="266" y="102"/>
                </a:lnTo>
                <a:cubicBezTo>
                  <a:pt x="260" y="106"/>
                  <a:pt x="256" y="112"/>
                  <a:pt x="256" y="120"/>
                </a:cubicBezTo>
                <a:lnTo>
                  <a:pt x="256" y="421"/>
                </a:lnTo>
                <a:lnTo>
                  <a:pt x="16" y="482"/>
                </a:lnTo>
                <a:cubicBezTo>
                  <a:pt x="6" y="485"/>
                  <a:pt x="0" y="493"/>
                  <a:pt x="0" y="503"/>
                </a:cubicBezTo>
                <a:lnTo>
                  <a:pt x="0" y="764"/>
                </a:lnTo>
                <a:cubicBezTo>
                  <a:pt x="0" y="774"/>
                  <a:pt x="6" y="783"/>
                  <a:pt x="16" y="785"/>
                </a:cubicBezTo>
                <a:lnTo>
                  <a:pt x="438" y="893"/>
                </a:lnTo>
                <a:cubicBezTo>
                  <a:pt x="439" y="893"/>
                  <a:pt x="441" y="893"/>
                  <a:pt x="443" y="893"/>
                </a:cubicBezTo>
                <a:cubicBezTo>
                  <a:pt x="445" y="893"/>
                  <a:pt x="447" y="893"/>
                  <a:pt x="450" y="892"/>
                </a:cubicBezTo>
                <a:lnTo>
                  <a:pt x="509" y="874"/>
                </a:lnTo>
                <a:cubicBezTo>
                  <a:pt x="520" y="870"/>
                  <a:pt x="527" y="859"/>
                  <a:pt x="523" y="847"/>
                </a:cubicBezTo>
                <a:cubicBezTo>
                  <a:pt x="519" y="836"/>
                  <a:pt x="507" y="829"/>
                  <a:pt x="496" y="833"/>
                </a:cubicBezTo>
                <a:lnTo>
                  <a:pt x="464" y="843"/>
                </a:lnTo>
                <a:lnTo>
                  <a:pt x="464" y="424"/>
                </a:lnTo>
                <a:lnTo>
                  <a:pt x="763" y="518"/>
                </a:lnTo>
                <a:lnTo>
                  <a:pt x="763" y="749"/>
                </a:lnTo>
                <a:lnTo>
                  <a:pt x="589" y="803"/>
                </a:lnTo>
                <a:cubicBezTo>
                  <a:pt x="578" y="807"/>
                  <a:pt x="571" y="819"/>
                  <a:pt x="575" y="830"/>
                </a:cubicBezTo>
                <a:cubicBezTo>
                  <a:pt x="578" y="841"/>
                  <a:pt x="591" y="848"/>
                  <a:pt x="602" y="844"/>
                </a:cubicBezTo>
                <a:lnTo>
                  <a:pt x="790" y="784"/>
                </a:lnTo>
                <a:cubicBezTo>
                  <a:pt x="799" y="782"/>
                  <a:pt x="805" y="773"/>
                  <a:pt x="805" y="764"/>
                </a:cubicBezTo>
                <a:lnTo>
                  <a:pt x="805" y="503"/>
                </a:lnTo>
                <a:cubicBezTo>
                  <a:pt x="805" y="494"/>
                  <a:pt x="799" y="486"/>
                  <a:pt x="790" y="483"/>
                </a:cubicBezTo>
                <a:close/>
                <a:moveTo>
                  <a:pt x="551" y="407"/>
                </a:moveTo>
                <a:lnTo>
                  <a:pt x="464" y="379"/>
                </a:lnTo>
                <a:lnTo>
                  <a:pt x="464" y="56"/>
                </a:lnTo>
                <a:lnTo>
                  <a:pt x="551" y="101"/>
                </a:lnTo>
                <a:lnTo>
                  <a:pt x="551" y="407"/>
                </a:lnTo>
                <a:close/>
                <a:moveTo>
                  <a:pt x="159" y="626"/>
                </a:moveTo>
                <a:cubicBezTo>
                  <a:pt x="147" y="626"/>
                  <a:pt x="137" y="636"/>
                  <a:pt x="137" y="647"/>
                </a:cubicBezTo>
                <a:lnTo>
                  <a:pt x="137" y="673"/>
                </a:lnTo>
                <a:lnTo>
                  <a:pt x="43" y="665"/>
                </a:lnTo>
                <a:lnTo>
                  <a:pt x="43" y="609"/>
                </a:lnTo>
                <a:lnTo>
                  <a:pt x="211" y="589"/>
                </a:lnTo>
                <a:lnTo>
                  <a:pt x="211" y="609"/>
                </a:lnTo>
                <a:cubicBezTo>
                  <a:pt x="211" y="621"/>
                  <a:pt x="221" y="630"/>
                  <a:pt x="232" y="630"/>
                </a:cubicBezTo>
                <a:cubicBezTo>
                  <a:pt x="244" y="630"/>
                  <a:pt x="253" y="620"/>
                  <a:pt x="253" y="609"/>
                </a:cubicBezTo>
                <a:lnTo>
                  <a:pt x="253" y="585"/>
                </a:lnTo>
                <a:lnTo>
                  <a:pt x="312" y="578"/>
                </a:lnTo>
                <a:lnTo>
                  <a:pt x="312" y="688"/>
                </a:lnTo>
                <a:lnTo>
                  <a:pt x="180" y="677"/>
                </a:lnTo>
                <a:lnTo>
                  <a:pt x="180" y="647"/>
                </a:lnTo>
                <a:cubicBezTo>
                  <a:pt x="180" y="636"/>
                  <a:pt x="170" y="626"/>
                  <a:pt x="159" y="626"/>
                </a:cubicBezTo>
                <a:close/>
                <a:moveTo>
                  <a:pt x="354" y="692"/>
                </a:moveTo>
                <a:lnTo>
                  <a:pt x="354" y="573"/>
                </a:lnTo>
                <a:lnTo>
                  <a:pt x="384" y="570"/>
                </a:lnTo>
                <a:cubicBezTo>
                  <a:pt x="395" y="568"/>
                  <a:pt x="404" y="558"/>
                  <a:pt x="402" y="546"/>
                </a:cubicBezTo>
                <a:cubicBezTo>
                  <a:pt x="401" y="535"/>
                  <a:pt x="390" y="526"/>
                  <a:pt x="379" y="528"/>
                </a:cubicBezTo>
                <a:lnTo>
                  <a:pt x="354" y="531"/>
                </a:lnTo>
                <a:lnTo>
                  <a:pt x="354" y="440"/>
                </a:lnTo>
                <a:lnTo>
                  <a:pt x="422" y="423"/>
                </a:lnTo>
                <a:lnTo>
                  <a:pt x="422" y="697"/>
                </a:lnTo>
                <a:lnTo>
                  <a:pt x="354" y="692"/>
                </a:lnTo>
                <a:close/>
                <a:moveTo>
                  <a:pt x="312" y="451"/>
                </a:moveTo>
                <a:lnTo>
                  <a:pt x="312" y="535"/>
                </a:lnTo>
                <a:lnTo>
                  <a:pt x="253" y="542"/>
                </a:lnTo>
                <a:lnTo>
                  <a:pt x="253" y="465"/>
                </a:lnTo>
                <a:lnTo>
                  <a:pt x="312" y="451"/>
                </a:lnTo>
                <a:close/>
                <a:moveTo>
                  <a:pt x="422" y="740"/>
                </a:moveTo>
                <a:lnTo>
                  <a:pt x="422" y="845"/>
                </a:lnTo>
                <a:lnTo>
                  <a:pt x="180" y="783"/>
                </a:lnTo>
                <a:lnTo>
                  <a:pt x="180" y="720"/>
                </a:lnTo>
                <a:lnTo>
                  <a:pt x="422" y="740"/>
                </a:lnTo>
                <a:close/>
                <a:moveTo>
                  <a:pt x="299" y="410"/>
                </a:moveTo>
                <a:lnTo>
                  <a:pt x="299" y="132"/>
                </a:lnTo>
                <a:lnTo>
                  <a:pt x="422" y="58"/>
                </a:lnTo>
                <a:lnTo>
                  <a:pt x="422" y="379"/>
                </a:lnTo>
                <a:lnTo>
                  <a:pt x="387" y="387"/>
                </a:lnTo>
                <a:lnTo>
                  <a:pt x="299" y="410"/>
                </a:lnTo>
                <a:close/>
                <a:moveTo>
                  <a:pt x="211" y="476"/>
                </a:moveTo>
                <a:lnTo>
                  <a:pt x="211" y="547"/>
                </a:lnTo>
                <a:lnTo>
                  <a:pt x="42" y="566"/>
                </a:lnTo>
                <a:lnTo>
                  <a:pt x="42" y="520"/>
                </a:lnTo>
                <a:lnTo>
                  <a:pt x="211" y="476"/>
                </a:lnTo>
                <a:close/>
                <a:moveTo>
                  <a:pt x="42" y="708"/>
                </a:moveTo>
                <a:lnTo>
                  <a:pt x="137" y="716"/>
                </a:lnTo>
                <a:lnTo>
                  <a:pt x="137" y="772"/>
                </a:lnTo>
                <a:lnTo>
                  <a:pt x="42" y="748"/>
                </a:lnTo>
                <a:lnTo>
                  <a:pt x="42" y="7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rtlCol="0" anchor="ctr"/>
          <a:lstStyle/>
          <a:p>
            <a:pPr rtl="0"/>
            <a:endParaRPr lang="en-US" sz="1800"/>
          </a:p>
        </p:txBody>
      </p:sp>
      <p:grpSp>
        <p:nvGrpSpPr>
          <p:cNvPr id="33" name="Groupe 37">
            <a:extLst>
              <a:ext uri="{FF2B5EF4-FFF2-40B4-BE49-F238E27FC236}">
                <a16:creationId xmlns:a16="http://schemas.microsoft.com/office/drawing/2014/main" id="{A5D55573-B532-4F38-9E77-19386F6BFFC8}"/>
              </a:ext>
            </a:extLst>
          </p:cNvPr>
          <p:cNvGrpSpPr>
            <a:grpSpLocks noChangeAspect="1"/>
          </p:cNvGrpSpPr>
          <p:nvPr/>
        </p:nvGrpSpPr>
        <p:grpSpPr>
          <a:xfrm>
            <a:off x="587351" y="3997721"/>
            <a:ext cx="162818" cy="324000"/>
            <a:chOff x="11453813" y="1803400"/>
            <a:chExt cx="315912" cy="628650"/>
          </a:xfrm>
          <a:solidFill>
            <a:schemeClr val="bg1"/>
          </a:solidFill>
          <a:effectLst/>
        </p:grpSpPr>
        <p:sp>
          <p:nvSpPr>
            <p:cNvPr id="34" name="Freeform 154">
              <a:extLst>
                <a:ext uri="{FF2B5EF4-FFF2-40B4-BE49-F238E27FC236}">
                  <a16:creationId xmlns:a16="http://schemas.microsoft.com/office/drawing/2014/main" id="{9900F655-131F-4B37-899D-123A664633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53813" y="1952625"/>
              <a:ext cx="315912" cy="479425"/>
            </a:xfrm>
            <a:custGeom>
              <a:avLst/>
              <a:gdLst>
                <a:gd name="T0" fmla="*/ 314750 w 450"/>
                <a:gd name="T1" fmla="*/ 54242 h 682"/>
                <a:gd name="T2" fmla="*/ 239575 w 450"/>
                <a:gd name="T3" fmla="*/ 11976 h 682"/>
                <a:gd name="T4" fmla="*/ 285242 w 450"/>
                <a:gd name="T5" fmla="*/ 54242 h 682"/>
                <a:gd name="T6" fmla="*/ 250816 w 450"/>
                <a:gd name="T7" fmla="*/ 93691 h 682"/>
                <a:gd name="T8" fmla="*/ 270488 w 450"/>
                <a:gd name="T9" fmla="*/ 102145 h 682"/>
                <a:gd name="T10" fmla="*/ 285242 w 450"/>
                <a:gd name="T11" fmla="*/ 129618 h 682"/>
                <a:gd name="T12" fmla="*/ 29508 w 450"/>
                <a:gd name="T13" fmla="*/ 129618 h 682"/>
                <a:gd name="T14" fmla="*/ 157375 w 450"/>
                <a:gd name="T15" fmla="*/ 121165 h 682"/>
                <a:gd name="T16" fmla="*/ 230442 w 450"/>
                <a:gd name="T17" fmla="*/ 99327 h 682"/>
                <a:gd name="T18" fmla="*/ 158078 w 450"/>
                <a:gd name="T19" fmla="*/ 90874 h 682"/>
                <a:gd name="T20" fmla="*/ 61826 w 450"/>
                <a:gd name="T21" fmla="*/ 32405 h 682"/>
                <a:gd name="T22" fmla="*/ 51287 w 450"/>
                <a:gd name="T23" fmla="*/ 4227 h 682"/>
                <a:gd name="T24" fmla="*/ 0 w 450"/>
                <a:gd name="T25" fmla="*/ 129618 h 682"/>
                <a:gd name="T26" fmla="*/ 0 w 450"/>
                <a:gd name="T27" fmla="*/ 196540 h 682"/>
                <a:gd name="T28" fmla="*/ 18267 w 450"/>
                <a:gd name="T29" fmla="*/ 305025 h 682"/>
                <a:gd name="T30" fmla="*/ 158078 w 450"/>
                <a:gd name="T31" fmla="*/ 404352 h 682"/>
                <a:gd name="T32" fmla="*/ 285242 w 450"/>
                <a:gd name="T33" fmla="*/ 413510 h 682"/>
                <a:gd name="T34" fmla="*/ 29508 w 450"/>
                <a:gd name="T35" fmla="*/ 413510 h 682"/>
                <a:gd name="T36" fmla="*/ 14754 w 450"/>
                <a:gd name="T37" fmla="*/ 381105 h 682"/>
                <a:gd name="T38" fmla="*/ 0 w 450"/>
                <a:gd name="T39" fmla="*/ 413510 h 682"/>
                <a:gd name="T40" fmla="*/ 315452 w 450"/>
                <a:gd name="T41" fmla="*/ 413510 h 682"/>
                <a:gd name="T42" fmla="*/ 297186 w 450"/>
                <a:gd name="T43" fmla="*/ 305025 h 682"/>
                <a:gd name="T44" fmla="*/ 315452 w 450"/>
                <a:gd name="T45" fmla="*/ 258532 h 682"/>
                <a:gd name="T46" fmla="*/ 285945 w 450"/>
                <a:gd name="T47" fmla="*/ 258532 h 682"/>
                <a:gd name="T48" fmla="*/ 158078 w 450"/>
                <a:gd name="T49" fmla="*/ 308547 h 682"/>
                <a:gd name="T50" fmla="*/ 30210 w 450"/>
                <a:gd name="T51" fmla="*/ 237398 h 682"/>
                <a:gd name="T52" fmla="*/ 315452 w 450"/>
                <a:gd name="T53" fmla="*/ 196540 h 682"/>
                <a:gd name="T54" fmla="*/ 314750 w 450"/>
                <a:gd name="T55" fmla="*/ 129618 h 682"/>
                <a:gd name="T56" fmla="*/ 284540 w 450"/>
                <a:gd name="T57" fmla="*/ 338134 h 682"/>
                <a:gd name="T58" fmla="*/ 28805 w 450"/>
                <a:gd name="T59" fmla="*/ 338134 h 682"/>
                <a:gd name="T60" fmla="*/ 157375 w 450"/>
                <a:gd name="T61" fmla="*/ 338134 h 682"/>
                <a:gd name="T62" fmla="*/ 284540 w 450"/>
                <a:gd name="T63" fmla="*/ 196540 h 682"/>
                <a:gd name="T64" fmla="*/ 40749 w 450"/>
                <a:gd name="T65" fmla="*/ 209220 h 682"/>
                <a:gd name="T66" fmla="*/ 48477 w 450"/>
                <a:gd name="T67" fmla="*/ 178929 h 682"/>
                <a:gd name="T68" fmla="*/ 265570 w 450"/>
                <a:gd name="T69" fmla="*/ 178929 h 68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450" h="682">
                  <a:moveTo>
                    <a:pt x="448" y="184"/>
                  </a:moveTo>
                  <a:lnTo>
                    <a:pt x="448" y="77"/>
                  </a:lnTo>
                  <a:cubicBezTo>
                    <a:pt x="448" y="55"/>
                    <a:pt x="434" y="25"/>
                    <a:pt x="368" y="3"/>
                  </a:cubicBezTo>
                  <a:cubicBezTo>
                    <a:pt x="357" y="0"/>
                    <a:pt x="345" y="5"/>
                    <a:pt x="341" y="17"/>
                  </a:cubicBezTo>
                  <a:cubicBezTo>
                    <a:pt x="337" y="28"/>
                    <a:pt x="343" y="40"/>
                    <a:pt x="355" y="44"/>
                  </a:cubicBezTo>
                  <a:cubicBezTo>
                    <a:pt x="392" y="56"/>
                    <a:pt x="406" y="70"/>
                    <a:pt x="406" y="77"/>
                  </a:cubicBezTo>
                  <a:cubicBezTo>
                    <a:pt x="406" y="82"/>
                    <a:pt x="398" y="94"/>
                    <a:pt x="369" y="106"/>
                  </a:cubicBezTo>
                  <a:cubicBezTo>
                    <a:pt x="358" y="110"/>
                    <a:pt x="353" y="123"/>
                    <a:pt x="357" y="133"/>
                  </a:cubicBezTo>
                  <a:cubicBezTo>
                    <a:pt x="361" y="142"/>
                    <a:pt x="368" y="147"/>
                    <a:pt x="377" y="147"/>
                  </a:cubicBezTo>
                  <a:cubicBezTo>
                    <a:pt x="380" y="147"/>
                    <a:pt x="382" y="146"/>
                    <a:pt x="385" y="145"/>
                  </a:cubicBezTo>
                  <a:cubicBezTo>
                    <a:pt x="393" y="142"/>
                    <a:pt x="400" y="138"/>
                    <a:pt x="406" y="135"/>
                  </a:cubicBezTo>
                  <a:lnTo>
                    <a:pt x="406" y="184"/>
                  </a:lnTo>
                  <a:cubicBezTo>
                    <a:pt x="406" y="202"/>
                    <a:pt x="337" y="236"/>
                    <a:pt x="224" y="236"/>
                  </a:cubicBezTo>
                  <a:cubicBezTo>
                    <a:pt x="111" y="236"/>
                    <a:pt x="42" y="202"/>
                    <a:pt x="42" y="184"/>
                  </a:cubicBezTo>
                  <a:lnTo>
                    <a:pt x="42" y="135"/>
                  </a:lnTo>
                  <a:cubicBezTo>
                    <a:pt x="85" y="159"/>
                    <a:pt x="155" y="172"/>
                    <a:pt x="224" y="172"/>
                  </a:cubicBezTo>
                  <a:cubicBezTo>
                    <a:pt x="254" y="172"/>
                    <a:pt x="283" y="169"/>
                    <a:pt x="311" y="165"/>
                  </a:cubicBezTo>
                  <a:cubicBezTo>
                    <a:pt x="322" y="163"/>
                    <a:pt x="330" y="153"/>
                    <a:pt x="328" y="141"/>
                  </a:cubicBezTo>
                  <a:cubicBezTo>
                    <a:pt x="326" y="129"/>
                    <a:pt x="315" y="121"/>
                    <a:pt x="304" y="123"/>
                  </a:cubicBezTo>
                  <a:cubicBezTo>
                    <a:pt x="279" y="127"/>
                    <a:pt x="252" y="129"/>
                    <a:pt x="225" y="129"/>
                  </a:cubicBezTo>
                  <a:cubicBezTo>
                    <a:pt x="111" y="129"/>
                    <a:pt x="42" y="96"/>
                    <a:pt x="42" y="77"/>
                  </a:cubicBezTo>
                  <a:cubicBezTo>
                    <a:pt x="42" y="71"/>
                    <a:pt x="54" y="57"/>
                    <a:pt x="88" y="46"/>
                  </a:cubicBezTo>
                  <a:cubicBezTo>
                    <a:pt x="99" y="42"/>
                    <a:pt x="105" y="29"/>
                    <a:pt x="101" y="18"/>
                  </a:cubicBezTo>
                  <a:cubicBezTo>
                    <a:pt x="97" y="7"/>
                    <a:pt x="84" y="2"/>
                    <a:pt x="73" y="6"/>
                  </a:cubicBezTo>
                  <a:cubicBezTo>
                    <a:pt x="12" y="28"/>
                    <a:pt x="0" y="57"/>
                    <a:pt x="0" y="77"/>
                  </a:cubicBezTo>
                  <a:lnTo>
                    <a:pt x="0" y="184"/>
                  </a:lnTo>
                  <a:cubicBezTo>
                    <a:pt x="0" y="202"/>
                    <a:pt x="10" y="218"/>
                    <a:pt x="27" y="232"/>
                  </a:cubicBezTo>
                  <a:cubicBezTo>
                    <a:pt x="5" y="248"/>
                    <a:pt x="0" y="266"/>
                    <a:pt x="0" y="279"/>
                  </a:cubicBezTo>
                  <a:lnTo>
                    <a:pt x="0" y="386"/>
                  </a:lnTo>
                  <a:cubicBezTo>
                    <a:pt x="0" y="404"/>
                    <a:pt x="9" y="420"/>
                    <a:pt x="26" y="433"/>
                  </a:cubicBezTo>
                  <a:cubicBezTo>
                    <a:pt x="5" y="449"/>
                    <a:pt x="0" y="467"/>
                    <a:pt x="0" y="480"/>
                  </a:cubicBezTo>
                  <a:cubicBezTo>
                    <a:pt x="0" y="542"/>
                    <a:pt x="113" y="574"/>
                    <a:pt x="225" y="574"/>
                  </a:cubicBezTo>
                  <a:cubicBezTo>
                    <a:pt x="294" y="574"/>
                    <a:pt x="363" y="562"/>
                    <a:pt x="406" y="537"/>
                  </a:cubicBezTo>
                  <a:lnTo>
                    <a:pt x="406" y="587"/>
                  </a:lnTo>
                  <a:cubicBezTo>
                    <a:pt x="406" y="605"/>
                    <a:pt x="337" y="638"/>
                    <a:pt x="225" y="638"/>
                  </a:cubicBezTo>
                  <a:cubicBezTo>
                    <a:pt x="111" y="638"/>
                    <a:pt x="42" y="605"/>
                    <a:pt x="42" y="587"/>
                  </a:cubicBezTo>
                  <a:lnTo>
                    <a:pt x="42" y="563"/>
                  </a:lnTo>
                  <a:cubicBezTo>
                    <a:pt x="42" y="551"/>
                    <a:pt x="33" y="541"/>
                    <a:pt x="21" y="541"/>
                  </a:cubicBezTo>
                  <a:cubicBezTo>
                    <a:pt x="9" y="541"/>
                    <a:pt x="0" y="551"/>
                    <a:pt x="0" y="563"/>
                  </a:cubicBezTo>
                  <a:lnTo>
                    <a:pt x="0" y="587"/>
                  </a:lnTo>
                  <a:cubicBezTo>
                    <a:pt x="0" y="649"/>
                    <a:pt x="113" y="681"/>
                    <a:pt x="225" y="681"/>
                  </a:cubicBezTo>
                  <a:cubicBezTo>
                    <a:pt x="336" y="681"/>
                    <a:pt x="449" y="649"/>
                    <a:pt x="449" y="587"/>
                  </a:cubicBezTo>
                  <a:lnTo>
                    <a:pt x="449" y="480"/>
                  </a:lnTo>
                  <a:cubicBezTo>
                    <a:pt x="449" y="467"/>
                    <a:pt x="444" y="449"/>
                    <a:pt x="423" y="433"/>
                  </a:cubicBezTo>
                  <a:cubicBezTo>
                    <a:pt x="439" y="420"/>
                    <a:pt x="449" y="404"/>
                    <a:pt x="449" y="386"/>
                  </a:cubicBezTo>
                  <a:lnTo>
                    <a:pt x="449" y="367"/>
                  </a:lnTo>
                  <a:cubicBezTo>
                    <a:pt x="449" y="355"/>
                    <a:pt x="440" y="346"/>
                    <a:pt x="428" y="346"/>
                  </a:cubicBezTo>
                  <a:cubicBezTo>
                    <a:pt x="416" y="346"/>
                    <a:pt x="407" y="356"/>
                    <a:pt x="407" y="367"/>
                  </a:cubicBezTo>
                  <a:lnTo>
                    <a:pt x="407" y="386"/>
                  </a:lnTo>
                  <a:cubicBezTo>
                    <a:pt x="407" y="404"/>
                    <a:pt x="337" y="438"/>
                    <a:pt x="225" y="438"/>
                  </a:cubicBezTo>
                  <a:cubicBezTo>
                    <a:pt x="112" y="438"/>
                    <a:pt x="43" y="404"/>
                    <a:pt x="43" y="386"/>
                  </a:cubicBezTo>
                  <a:lnTo>
                    <a:pt x="43" y="337"/>
                  </a:lnTo>
                  <a:cubicBezTo>
                    <a:pt x="84" y="360"/>
                    <a:pt x="151" y="374"/>
                    <a:pt x="225" y="374"/>
                  </a:cubicBezTo>
                  <a:cubicBezTo>
                    <a:pt x="336" y="374"/>
                    <a:pt x="449" y="341"/>
                    <a:pt x="449" y="279"/>
                  </a:cubicBezTo>
                  <a:cubicBezTo>
                    <a:pt x="449" y="266"/>
                    <a:pt x="444" y="248"/>
                    <a:pt x="422" y="232"/>
                  </a:cubicBezTo>
                  <a:cubicBezTo>
                    <a:pt x="438" y="218"/>
                    <a:pt x="448" y="202"/>
                    <a:pt x="448" y="184"/>
                  </a:cubicBezTo>
                  <a:close/>
                  <a:moveTo>
                    <a:pt x="378" y="456"/>
                  </a:moveTo>
                  <a:cubicBezTo>
                    <a:pt x="397" y="465"/>
                    <a:pt x="405" y="474"/>
                    <a:pt x="405" y="480"/>
                  </a:cubicBezTo>
                  <a:cubicBezTo>
                    <a:pt x="405" y="498"/>
                    <a:pt x="336" y="532"/>
                    <a:pt x="224" y="532"/>
                  </a:cubicBezTo>
                  <a:cubicBezTo>
                    <a:pt x="110" y="532"/>
                    <a:pt x="41" y="498"/>
                    <a:pt x="41" y="480"/>
                  </a:cubicBezTo>
                  <a:cubicBezTo>
                    <a:pt x="41" y="474"/>
                    <a:pt x="50" y="465"/>
                    <a:pt x="68" y="456"/>
                  </a:cubicBezTo>
                  <a:cubicBezTo>
                    <a:pt x="111" y="472"/>
                    <a:pt x="167" y="480"/>
                    <a:pt x="224" y="480"/>
                  </a:cubicBezTo>
                  <a:cubicBezTo>
                    <a:pt x="280" y="480"/>
                    <a:pt x="336" y="472"/>
                    <a:pt x="378" y="456"/>
                  </a:cubicBezTo>
                  <a:close/>
                  <a:moveTo>
                    <a:pt x="405" y="279"/>
                  </a:moveTo>
                  <a:cubicBezTo>
                    <a:pt x="405" y="297"/>
                    <a:pt x="336" y="331"/>
                    <a:pt x="224" y="331"/>
                  </a:cubicBezTo>
                  <a:cubicBezTo>
                    <a:pt x="155" y="331"/>
                    <a:pt x="92" y="318"/>
                    <a:pt x="58" y="297"/>
                  </a:cubicBezTo>
                  <a:cubicBezTo>
                    <a:pt x="46" y="289"/>
                    <a:pt x="41" y="282"/>
                    <a:pt x="41" y="279"/>
                  </a:cubicBezTo>
                  <a:cubicBezTo>
                    <a:pt x="41" y="273"/>
                    <a:pt x="50" y="264"/>
                    <a:pt x="69" y="254"/>
                  </a:cubicBezTo>
                  <a:cubicBezTo>
                    <a:pt x="112" y="270"/>
                    <a:pt x="168" y="278"/>
                    <a:pt x="224" y="278"/>
                  </a:cubicBezTo>
                  <a:cubicBezTo>
                    <a:pt x="280" y="278"/>
                    <a:pt x="335" y="270"/>
                    <a:pt x="378" y="254"/>
                  </a:cubicBezTo>
                  <a:cubicBezTo>
                    <a:pt x="396" y="264"/>
                    <a:pt x="405" y="273"/>
                    <a:pt x="405" y="27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id="{D724EB91-5DFE-4468-8960-C302FF72A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15725" y="1803400"/>
              <a:ext cx="173038" cy="207963"/>
            </a:xfrm>
            <a:custGeom>
              <a:avLst/>
              <a:gdLst>
                <a:gd name="T0" fmla="*/ 0 w 247"/>
                <a:gd name="T1" fmla="*/ 127958 h 297"/>
                <a:gd name="T2" fmla="*/ 14757 w 247"/>
                <a:gd name="T3" fmla="*/ 142642 h 297"/>
                <a:gd name="T4" fmla="*/ 29515 w 247"/>
                <a:gd name="T5" fmla="*/ 142642 h 297"/>
                <a:gd name="T6" fmla="*/ 125789 w 247"/>
                <a:gd name="T7" fmla="*/ 206971 h 297"/>
                <a:gd name="T8" fmla="*/ 160926 w 247"/>
                <a:gd name="T9" fmla="*/ 201377 h 297"/>
                <a:gd name="T10" fmla="*/ 170061 w 247"/>
                <a:gd name="T11" fmla="*/ 181799 h 297"/>
                <a:gd name="T12" fmla="*/ 151088 w 247"/>
                <a:gd name="T13" fmla="*/ 173408 h 297"/>
                <a:gd name="T14" fmla="*/ 125789 w 247"/>
                <a:gd name="T15" fmla="*/ 177603 h 297"/>
                <a:gd name="T16" fmla="*/ 62543 w 247"/>
                <a:gd name="T17" fmla="*/ 142642 h 297"/>
                <a:gd name="T18" fmla="*/ 113843 w 247"/>
                <a:gd name="T19" fmla="*/ 142642 h 297"/>
                <a:gd name="T20" fmla="*/ 129303 w 247"/>
                <a:gd name="T21" fmla="*/ 127958 h 297"/>
                <a:gd name="T22" fmla="*/ 113843 w 247"/>
                <a:gd name="T23" fmla="*/ 113275 h 297"/>
                <a:gd name="T24" fmla="*/ 52002 w 247"/>
                <a:gd name="T25" fmla="*/ 113275 h 297"/>
                <a:gd name="T26" fmla="*/ 51299 w 247"/>
                <a:gd name="T27" fmla="*/ 103485 h 297"/>
                <a:gd name="T28" fmla="*/ 52002 w 247"/>
                <a:gd name="T29" fmla="*/ 92997 h 297"/>
                <a:gd name="T30" fmla="*/ 113843 w 247"/>
                <a:gd name="T31" fmla="*/ 92997 h 297"/>
                <a:gd name="T32" fmla="*/ 129303 w 247"/>
                <a:gd name="T33" fmla="*/ 78313 h 297"/>
                <a:gd name="T34" fmla="*/ 113843 w 247"/>
                <a:gd name="T35" fmla="*/ 63630 h 297"/>
                <a:gd name="T36" fmla="*/ 63246 w 247"/>
                <a:gd name="T37" fmla="*/ 63630 h 297"/>
                <a:gd name="T38" fmla="*/ 125789 w 247"/>
                <a:gd name="T39" fmla="*/ 30067 h 297"/>
                <a:gd name="T40" fmla="*/ 146871 w 247"/>
                <a:gd name="T41" fmla="*/ 32864 h 297"/>
                <a:gd name="T42" fmla="*/ 165845 w 247"/>
                <a:gd name="T43" fmla="*/ 23074 h 297"/>
                <a:gd name="T44" fmla="*/ 156007 w 247"/>
                <a:gd name="T45" fmla="*/ 4895 h 297"/>
                <a:gd name="T46" fmla="*/ 125789 w 247"/>
                <a:gd name="T47" fmla="*/ 0 h 297"/>
                <a:gd name="T48" fmla="*/ 29515 w 247"/>
                <a:gd name="T49" fmla="*/ 63630 h 297"/>
                <a:gd name="T50" fmla="*/ 14757 w 247"/>
                <a:gd name="T51" fmla="*/ 63630 h 297"/>
                <a:gd name="T52" fmla="*/ 0 w 247"/>
                <a:gd name="T53" fmla="*/ 78313 h 297"/>
                <a:gd name="T54" fmla="*/ 14757 w 247"/>
                <a:gd name="T55" fmla="*/ 92997 h 297"/>
                <a:gd name="T56" fmla="*/ 21785 w 247"/>
                <a:gd name="T57" fmla="*/ 92997 h 297"/>
                <a:gd name="T58" fmla="*/ 21082 w 247"/>
                <a:gd name="T59" fmla="*/ 103485 h 297"/>
                <a:gd name="T60" fmla="*/ 21785 w 247"/>
                <a:gd name="T61" fmla="*/ 113275 h 297"/>
                <a:gd name="T62" fmla="*/ 14757 w 247"/>
                <a:gd name="T63" fmla="*/ 113275 h 297"/>
                <a:gd name="T64" fmla="*/ 0 w 247"/>
                <a:gd name="T65" fmla="*/ 127958 h 29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7" h="297">
                  <a:moveTo>
                    <a:pt x="0" y="183"/>
                  </a:moveTo>
                  <a:cubicBezTo>
                    <a:pt x="0" y="195"/>
                    <a:pt x="10" y="204"/>
                    <a:pt x="21" y="204"/>
                  </a:cubicBezTo>
                  <a:lnTo>
                    <a:pt x="42" y="204"/>
                  </a:lnTo>
                  <a:cubicBezTo>
                    <a:pt x="64" y="258"/>
                    <a:pt x="117" y="296"/>
                    <a:pt x="179" y="296"/>
                  </a:cubicBezTo>
                  <a:cubicBezTo>
                    <a:pt x="196" y="296"/>
                    <a:pt x="213" y="293"/>
                    <a:pt x="229" y="288"/>
                  </a:cubicBezTo>
                  <a:cubicBezTo>
                    <a:pt x="240" y="284"/>
                    <a:pt x="246" y="272"/>
                    <a:pt x="242" y="260"/>
                  </a:cubicBezTo>
                  <a:cubicBezTo>
                    <a:pt x="238" y="249"/>
                    <a:pt x="226" y="244"/>
                    <a:pt x="215" y="248"/>
                  </a:cubicBezTo>
                  <a:cubicBezTo>
                    <a:pt x="203" y="252"/>
                    <a:pt x="191" y="254"/>
                    <a:pt x="179" y="254"/>
                  </a:cubicBezTo>
                  <a:cubicBezTo>
                    <a:pt x="141" y="254"/>
                    <a:pt x="108" y="234"/>
                    <a:pt x="89" y="204"/>
                  </a:cubicBezTo>
                  <a:lnTo>
                    <a:pt x="162" y="204"/>
                  </a:lnTo>
                  <a:cubicBezTo>
                    <a:pt x="174" y="204"/>
                    <a:pt x="184" y="195"/>
                    <a:pt x="184" y="183"/>
                  </a:cubicBezTo>
                  <a:cubicBezTo>
                    <a:pt x="184" y="171"/>
                    <a:pt x="174" y="162"/>
                    <a:pt x="162" y="162"/>
                  </a:cubicBezTo>
                  <a:lnTo>
                    <a:pt x="74" y="162"/>
                  </a:lnTo>
                  <a:cubicBezTo>
                    <a:pt x="73" y="158"/>
                    <a:pt x="73" y="153"/>
                    <a:pt x="73" y="148"/>
                  </a:cubicBezTo>
                  <a:cubicBezTo>
                    <a:pt x="73" y="143"/>
                    <a:pt x="73" y="138"/>
                    <a:pt x="74" y="133"/>
                  </a:cubicBezTo>
                  <a:lnTo>
                    <a:pt x="162" y="133"/>
                  </a:lnTo>
                  <a:cubicBezTo>
                    <a:pt x="174" y="133"/>
                    <a:pt x="184" y="124"/>
                    <a:pt x="184" y="112"/>
                  </a:cubicBezTo>
                  <a:cubicBezTo>
                    <a:pt x="184" y="100"/>
                    <a:pt x="174" y="91"/>
                    <a:pt x="162" y="91"/>
                  </a:cubicBezTo>
                  <a:lnTo>
                    <a:pt x="90" y="91"/>
                  </a:lnTo>
                  <a:cubicBezTo>
                    <a:pt x="109" y="62"/>
                    <a:pt x="142" y="43"/>
                    <a:pt x="179" y="43"/>
                  </a:cubicBezTo>
                  <a:cubicBezTo>
                    <a:pt x="189" y="43"/>
                    <a:pt x="199" y="44"/>
                    <a:pt x="209" y="47"/>
                  </a:cubicBezTo>
                  <a:cubicBezTo>
                    <a:pt x="221" y="51"/>
                    <a:pt x="232" y="44"/>
                    <a:pt x="236" y="33"/>
                  </a:cubicBezTo>
                  <a:cubicBezTo>
                    <a:pt x="239" y="22"/>
                    <a:pt x="233" y="10"/>
                    <a:pt x="222" y="7"/>
                  </a:cubicBezTo>
                  <a:cubicBezTo>
                    <a:pt x="208" y="2"/>
                    <a:pt x="193" y="0"/>
                    <a:pt x="179" y="0"/>
                  </a:cubicBezTo>
                  <a:cubicBezTo>
                    <a:pt x="117" y="0"/>
                    <a:pt x="64" y="38"/>
                    <a:pt x="42" y="91"/>
                  </a:cubicBezTo>
                  <a:lnTo>
                    <a:pt x="21" y="91"/>
                  </a:lnTo>
                  <a:cubicBezTo>
                    <a:pt x="9" y="91"/>
                    <a:pt x="0" y="101"/>
                    <a:pt x="0" y="112"/>
                  </a:cubicBezTo>
                  <a:cubicBezTo>
                    <a:pt x="0" y="124"/>
                    <a:pt x="9" y="133"/>
                    <a:pt x="21" y="133"/>
                  </a:cubicBezTo>
                  <a:lnTo>
                    <a:pt x="31" y="133"/>
                  </a:lnTo>
                  <a:cubicBezTo>
                    <a:pt x="30" y="138"/>
                    <a:pt x="30" y="143"/>
                    <a:pt x="30" y="148"/>
                  </a:cubicBezTo>
                  <a:cubicBezTo>
                    <a:pt x="30" y="153"/>
                    <a:pt x="30" y="158"/>
                    <a:pt x="31" y="162"/>
                  </a:cubicBezTo>
                  <a:lnTo>
                    <a:pt x="21" y="162"/>
                  </a:lnTo>
                  <a:cubicBezTo>
                    <a:pt x="9" y="162"/>
                    <a:pt x="0" y="171"/>
                    <a:pt x="0" y="18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DDC255D8-88DD-4AEB-A4C4-7F9493223F6A}"/>
              </a:ext>
            </a:extLst>
          </p:cNvPr>
          <p:cNvSpPr txBox="1"/>
          <p:nvPr/>
        </p:nvSpPr>
        <p:spPr>
          <a:xfrm>
            <a:off x="5948056" y="2407655"/>
            <a:ext cx="2615418" cy="16389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rtl="0">
              <a:spcAft>
                <a:spcPts val="300"/>
              </a:spcAft>
            </a:pPr>
            <a:r>
              <a:rPr lang="cs" sz="1400" dirty="0"/>
              <a:t>Skupina Saint-Gobain, </a:t>
            </a:r>
            <a:br>
              <a:rPr lang="cs" sz="1400" dirty="0"/>
            </a:br>
            <a:r>
              <a:rPr lang="cs" sz="1400" dirty="0"/>
              <a:t>světová jednička v oblasti lehkých a udržitelných staveb, navrhuje, vyrábí a distribuuje materiály a řešení </a:t>
            </a:r>
            <a:br>
              <a:rPr lang="cs" sz="1400" dirty="0"/>
            </a:br>
            <a:r>
              <a:rPr lang="cs" sz="1400" dirty="0"/>
              <a:t>pro stavebnictví, mobilitu </a:t>
            </a:r>
            <a:br>
              <a:rPr lang="cs" sz="1400" dirty="0"/>
            </a:br>
            <a:r>
              <a:rPr lang="cs" sz="1400" dirty="0"/>
              <a:t>a průmysl.</a:t>
            </a:r>
          </a:p>
        </p:txBody>
      </p:sp>
      <p:grpSp>
        <p:nvGrpSpPr>
          <p:cNvPr id="38" name="Groupe 129">
            <a:extLst>
              <a:ext uri="{FF2B5EF4-FFF2-40B4-BE49-F238E27FC236}">
                <a16:creationId xmlns:a16="http://schemas.microsoft.com/office/drawing/2014/main" id="{754DD018-247D-42CD-80D2-2A46F2513D10}"/>
              </a:ext>
            </a:extLst>
          </p:cNvPr>
          <p:cNvGrpSpPr>
            <a:grpSpLocks noChangeAspect="1"/>
          </p:cNvGrpSpPr>
          <p:nvPr/>
        </p:nvGrpSpPr>
        <p:grpSpPr>
          <a:xfrm>
            <a:off x="524092" y="1246458"/>
            <a:ext cx="289337" cy="325399"/>
            <a:chOff x="12963525" y="4178300"/>
            <a:chExt cx="547688" cy="615950"/>
          </a:xfrm>
          <a:solidFill>
            <a:schemeClr val="bg1"/>
          </a:solidFill>
        </p:grpSpPr>
        <p:sp>
          <p:nvSpPr>
            <p:cNvPr id="39" name="Freeform 215">
              <a:extLst>
                <a:ext uri="{FF2B5EF4-FFF2-40B4-BE49-F238E27FC236}">
                  <a16:creationId xmlns:a16="http://schemas.microsoft.com/office/drawing/2014/main" id="{93C9DF40-5C7D-4099-A1BD-B3B66DCC4B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27038" y="4360863"/>
              <a:ext cx="84137" cy="87312"/>
            </a:xfrm>
            <a:custGeom>
              <a:avLst/>
              <a:gdLst>
                <a:gd name="T0" fmla="*/ 79504 w 120"/>
                <a:gd name="T1" fmla="*/ 10671 h 122"/>
                <a:gd name="T2" fmla="*/ 59976 w 120"/>
                <a:gd name="T3" fmla="*/ 3557 h 122"/>
                <a:gd name="T4" fmla="*/ 2790 w 120"/>
                <a:gd name="T5" fmla="*/ 65447 h 122"/>
                <a:gd name="T6" fmla="*/ 11158 w 120"/>
                <a:gd name="T7" fmla="*/ 85365 h 122"/>
                <a:gd name="T8" fmla="*/ 16738 w 120"/>
                <a:gd name="T9" fmla="*/ 86077 h 122"/>
                <a:gd name="T10" fmla="*/ 30686 w 120"/>
                <a:gd name="T11" fmla="*/ 76829 h 122"/>
                <a:gd name="T12" fmla="*/ 72530 w 120"/>
                <a:gd name="T13" fmla="*/ 30589 h 122"/>
                <a:gd name="T14" fmla="*/ 79504 w 120"/>
                <a:gd name="T15" fmla="*/ 10671 h 1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0" h="122">
                  <a:moveTo>
                    <a:pt x="114" y="15"/>
                  </a:moveTo>
                  <a:cubicBezTo>
                    <a:pt x="109" y="5"/>
                    <a:pt x="96" y="0"/>
                    <a:pt x="86" y="5"/>
                  </a:cubicBezTo>
                  <a:cubicBezTo>
                    <a:pt x="49" y="23"/>
                    <a:pt x="19" y="54"/>
                    <a:pt x="4" y="92"/>
                  </a:cubicBezTo>
                  <a:cubicBezTo>
                    <a:pt x="0" y="103"/>
                    <a:pt x="5" y="116"/>
                    <a:pt x="16" y="120"/>
                  </a:cubicBezTo>
                  <a:cubicBezTo>
                    <a:pt x="19" y="121"/>
                    <a:pt x="21" y="121"/>
                    <a:pt x="24" y="121"/>
                  </a:cubicBezTo>
                  <a:cubicBezTo>
                    <a:pt x="32" y="121"/>
                    <a:pt x="40" y="116"/>
                    <a:pt x="44" y="108"/>
                  </a:cubicBezTo>
                  <a:cubicBezTo>
                    <a:pt x="55" y="80"/>
                    <a:pt x="77" y="56"/>
                    <a:pt x="104" y="43"/>
                  </a:cubicBezTo>
                  <a:cubicBezTo>
                    <a:pt x="114" y="39"/>
                    <a:pt x="119" y="26"/>
                    <a:pt x="114" y="1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40" name="Freeform 216">
              <a:extLst>
                <a:ext uri="{FF2B5EF4-FFF2-40B4-BE49-F238E27FC236}">
                  <a16:creationId xmlns:a16="http://schemas.microsoft.com/office/drawing/2014/main" id="{77CB0369-2141-4758-8B05-0E76D50EB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1000" y="4302125"/>
              <a:ext cx="306388" cy="492125"/>
            </a:xfrm>
            <a:custGeom>
              <a:avLst/>
              <a:gdLst>
                <a:gd name="T0" fmla="*/ 253613 w 438"/>
                <a:gd name="T1" fmla="*/ 269199 h 703"/>
                <a:gd name="T2" fmla="*/ 306157 w 438"/>
                <a:gd name="T3" fmla="*/ 154929 h 703"/>
                <a:gd name="T4" fmla="*/ 255715 w 438"/>
                <a:gd name="T5" fmla="*/ 42062 h 703"/>
                <a:gd name="T6" fmla="*/ 138016 w 438"/>
                <a:gd name="T7" fmla="*/ 4907 h 703"/>
                <a:gd name="T8" fmla="*/ 5605 w 438"/>
                <a:gd name="T9" fmla="*/ 137404 h 703"/>
                <a:gd name="T10" fmla="*/ 57448 w 438"/>
                <a:gd name="T11" fmla="*/ 269199 h 703"/>
                <a:gd name="T12" fmla="*/ 67257 w 438"/>
                <a:gd name="T13" fmla="*/ 292333 h 703"/>
                <a:gd name="T14" fmla="*/ 67257 w 438"/>
                <a:gd name="T15" fmla="*/ 323880 h 703"/>
                <a:gd name="T16" fmla="*/ 81969 w 438"/>
                <a:gd name="T17" fmla="*/ 338602 h 703"/>
                <a:gd name="T18" fmla="*/ 96681 w 438"/>
                <a:gd name="T19" fmla="*/ 323880 h 703"/>
                <a:gd name="T20" fmla="*/ 96681 w 438"/>
                <a:gd name="T21" fmla="*/ 292333 h 703"/>
                <a:gd name="T22" fmla="*/ 76364 w 438"/>
                <a:gd name="T23" fmla="*/ 246766 h 703"/>
                <a:gd name="T24" fmla="*/ 35029 w 438"/>
                <a:gd name="T25" fmla="*/ 140909 h 703"/>
                <a:gd name="T26" fmla="*/ 141519 w 438"/>
                <a:gd name="T27" fmla="*/ 34351 h 703"/>
                <a:gd name="T28" fmla="*/ 235398 w 438"/>
                <a:gd name="T29" fmla="*/ 64496 h 703"/>
                <a:gd name="T30" fmla="*/ 276032 w 438"/>
                <a:gd name="T31" fmla="*/ 154929 h 703"/>
                <a:gd name="T32" fmla="*/ 233997 w 438"/>
                <a:gd name="T33" fmla="*/ 246766 h 703"/>
                <a:gd name="T34" fmla="*/ 213680 w 438"/>
                <a:gd name="T35" fmla="*/ 293034 h 703"/>
                <a:gd name="T36" fmla="*/ 212979 w 438"/>
                <a:gd name="T37" fmla="*/ 339303 h 703"/>
                <a:gd name="T38" fmla="*/ 217183 w 438"/>
                <a:gd name="T39" fmla="*/ 350519 h 703"/>
                <a:gd name="T40" fmla="*/ 227691 w 438"/>
                <a:gd name="T41" fmla="*/ 354725 h 703"/>
                <a:gd name="T42" fmla="*/ 235398 w 438"/>
                <a:gd name="T43" fmla="*/ 362437 h 703"/>
                <a:gd name="T44" fmla="*/ 235398 w 438"/>
                <a:gd name="T45" fmla="*/ 368045 h 703"/>
                <a:gd name="T46" fmla="*/ 227691 w 438"/>
                <a:gd name="T47" fmla="*/ 375757 h 703"/>
                <a:gd name="T48" fmla="*/ 92478 w 438"/>
                <a:gd name="T49" fmla="*/ 375757 h 703"/>
                <a:gd name="T50" fmla="*/ 65155 w 438"/>
                <a:gd name="T51" fmla="*/ 403097 h 703"/>
                <a:gd name="T52" fmla="*/ 65155 w 438"/>
                <a:gd name="T53" fmla="*/ 437448 h 703"/>
                <a:gd name="T54" fmla="*/ 74262 w 438"/>
                <a:gd name="T55" fmla="*/ 460582 h 703"/>
                <a:gd name="T56" fmla="*/ 98082 w 438"/>
                <a:gd name="T57" fmla="*/ 484418 h 703"/>
                <a:gd name="T58" fmla="*/ 117699 w 438"/>
                <a:gd name="T59" fmla="*/ 492129 h 703"/>
                <a:gd name="T60" fmla="*/ 137315 w 438"/>
                <a:gd name="T61" fmla="*/ 484418 h 703"/>
                <a:gd name="T62" fmla="*/ 155531 w 438"/>
                <a:gd name="T63" fmla="*/ 466191 h 703"/>
                <a:gd name="T64" fmla="*/ 173746 w 438"/>
                <a:gd name="T65" fmla="*/ 484418 h 703"/>
                <a:gd name="T66" fmla="*/ 194063 w 438"/>
                <a:gd name="T67" fmla="*/ 492129 h 703"/>
                <a:gd name="T68" fmla="*/ 213680 w 438"/>
                <a:gd name="T69" fmla="*/ 484418 h 703"/>
                <a:gd name="T70" fmla="*/ 242404 w 438"/>
                <a:gd name="T71" fmla="*/ 455675 h 703"/>
                <a:gd name="T72" fmla="*/ 242404 w 438"/>
                <a:gd name="T73" fmla="*/ 433943 h 703"/>
                <a:gd name="T74" fmla="*/ 221386 w 438"/>
                <a:gd name="T75" fmla="*/ 433943 h 703"/>
                <a:gd name="T76" fmla="*/ 194063 w 438"/>
                <a:gd name="T77" fmla="*/ 461984 h 703"/>
                <a:gd name="T78" fmla="*/ 166740 w 438"/>
                <a:gd name="T79" fmla="*/ 434644 h 703"/>
                <a:gd name="T80" fmla="*/ 166740 w 438"/>
                <a:gd name="T81" fmla="*/ 433943 h 703"/>
                <a:gd name="T82" fmla="*/ 155531 w 438"/>
                <a:gd name="T83" fmla="*/ 429737 h 703"/>
                <a:gd name="T84" fmla="*/ 145022 w 438"/>
                <a:gd name="T85" fmla="*/ 433943 h 703"/>
                <a:gd name="T86" fmla="*/ 145022 w 438"/>
                <a:gd name="T87" fmla="*/ 434644 h 703"/>
                <a:gd name="T88" fmla="*/ 117699 w 438"/>
                <a:gd name="T89" fmla="*/ 461984 h 703"/>
                <a:gd name="T90" fmla="*/ 95981 w 438"/>
                <a:gd name="T91" fmla="*/ 439551 h 703"/>
                <a:gd name="T92" fmla="*/ 94580 w 438"/>
                <a:gd name="T93" fmla="*/ 437448 h 703"/>
                <a:gd name="T94" fmla="*/ 94580 w 438"/>
                <a:gd name="T95" fmla="*/ 405200 h 703"/>
                <a:gd name="T96" fmla="*/ 227691 w 438"/>
                <a:gd name="T97" fmla="*/ 405200 h 703"/>
                <a:gd name="T98" fmla="*/ 264823 w 438"/>
                <a:gd name="T99" fmla="*/ 368045 h 703"/>
                <a:gd name="T100" fmla="*/ 264823 w 438"/>
                <a:gd name="T101" fmla="*/ 362437 h 703"/>
                <a:gd name="T102" fmla="*/ 243104 w 438"/>
                <a:gd name="T103" fmla="*/ 328086 h 703"/>
                <a:gd name="T104" fmla="*/ 243104 w 438"/>
                <a:gd name="T105" fmla="*/ 293735 h 703"/>
                <a:gd name="T106" fmla="*/ 253613 w 438"/>
                <a:gd name="T107" fmla="*/ 269199 h 70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8" h="703">
                  <a:moveTo>
                    <a:pt x="362" y="384"/>
                  </a:moveTo>
                  <a:cubicBezTo>
                    <a:pt x="409" y="343"/>
                    <a:pt x="437" y="283"/>
                    <a:pt x="437" y="221"/>
                  </a:cubicBezTo>
                  <a:cubicBezTo>
                    <a:pt x="437" y="160"/>
                    <a:pt x="410" y="101"/>
                    <a:pt x="365" y="60"/>
                  </a:cubicBezTo>
                  <a:cubicBezTo>
                    <a:pt x="319" y="20"/>
                    <a:pt x="258" y="0"/>
                    <a:pt x="197" y="7"/>
                  </a:cubicBezTo>
                  <a:cubicBezTo>
                    <a:pt x="97" y="18"/>
                    <a:pt x="19" y="96"/>
                    <a:pt x="8" y="196"/>
                  </a:cubicBezTo>
                  <a:cubicBezTo>
                    <a:pt x="0" y="268"/>
                    <a:pt x="27" y="338"/>
                    <a:pt x="82" y="384"/>
                  </a:cubicBezTo>
                  <a:cubicBezTo>
                    <a:pt x="91" y="392"/>
                    <a:pt x="96" y="404"/>
                    <a:pt x="96" y="417"/>
                  </a:cubicBezTo>
                  <a:lnTo>
                    <a:pt x="96" y="462"/>
                  </a:lnTo>
                  <a:cubicBezTo>
                    <a:pt x="96" y="474"/>
                    <a:pt x="105" y="483"/>
                    <a:pt x="117" y="483"/>
                  </a:cubicBezTo>
                  <a:cubicBezTo>
                    <a:pt x="129" y="483"/>
                    <a:pt x="138" y="474"/>
                    <a:pt x="138" y="462"/>
                  </a:cubicBezTo>
                  <a:lnTo>
                    <a:pt x="138" y="417"/>
                  </a:lnTo>
                  <a:cubicBezTo>
                    <a:pt x="138" y="391"/>
                    <a:pt x="127" y="368"/>
                    <a:pt x="109" y="352"/>
                  </a:cubicBezTo>
                  <a:cubicBezTo>
                    <a:pt x="65" y="315"/>
                    <a:pt x="43" y="258"/>
                    <a:pt x="50" y="201"/>
                  </a:cubicBezTo>
                  <a:cubicBezTo>
                    <a:pt x="59" y="121"/>
                    <a:pt x="121" y="58"/>
                    <a:pt x="202" y="49"/>
                  </a:cubicBezTo>
                  <a:cubicBezTo>
                    <a:pt x="251" y="44"/>
                    <a:pt x="299" y="59"/>
                    <a:pt x="336" y="92"/>
                  </a:cubicBezTo>
                  <a:cubicBezTo>
                    <a:pt x="373" y="125"/>
                    <a:pt x="394" y="172"/>
                    <a:pt x="394" y="221"/>
                  </a:cubicBezTo>
                  <a:cubicBezTo>
                    <a:pt x="394" y="271"/>
                    <a:pt x="372" y="319"/>
                    <a:pt x="334" y="352"/>
                  </a:cubicBezTo>
                  <a:cubicBezTo>
                    <a:pt x="315" y="368"/>
                    <a:pt x="305" y="392"/>
                    <a:pt x="305" y="418"/>
                  </a:cubicBezTo>
                  <a:lnTo>
                    <a:pt x="304" y="484"/>
                  </a:lnTo>
                  <a:cubicBezTo>
                    <a:pt x="304" y="490"/>
                    <a:pt x="306" y="496"/>
                    <a:pt x="310" y="500"/>
                  </a:cubicBezTo>
                  <a:cubicBezTo>
                    <a:pt x="314" y="503"/>
                    <a:pt x="319" y="506"/>
                    <a:pt x="325" y="506"/>
                  </a:cubicBezTo>
                  <a:cubicBezTo>
                    <a:pt x="331" y="506"/>
                    <a:pt x="336" y="511"/>
                    <a:pt x="336" y="517"/>
                  </a:cubicBezTo>
                  <a:lnTo>
                    <a:pt x="336" y="525"/>
                  </a:lnTo>
                  <a:cubicBezTo>
                    <a:pt x="336" y="531"/>
                    <a:pt x="331" y="536"/>
                    <a:pt x="325" y="536"/>
                  </a:cubicBezTo>
                  <a:lnTo>
                    <a:pt x="132" y="536"/>
                  </a:lnTo>
                  <a:cubicBezTo>
                    <a:pt x="110" y="536"/>
                    <a:pt x="93" y="553"/>
                    <a:pt x="93" y="575"/>
                  </a:cubicBezTo>
                  <a:lnTo>
                    <a:pt x="93" y="624"/>
                  </a:lnTo>
                  <a:cubicBezTo>
                    <a:pt x="93" y="637"/>
                    <a:pt x="98" y="649"/>
                    <a:pt x="106" y="657"/>
                  </a:cubicBezTo>
                  <a:lnTo>
                    <a:pt x="140" y="691"/>
                  </a:lnTo>
                  <a:cubicBezTo>
                    <a:pt x="148" y="699"/>
                    <a:pt x="158" y="702"/>
                    <a:pt x="168" y="702"/>
                  </a:cubicBezTo>
                  <a:cubicBezTo>
                    <a:pt x="178" y="702"/>
                    <a:pt x="189" y="698"/>
                    <a:pt x="196" y="691"/>
                  </a:cubicBezTo>
                  <a:lnTo>
                    <a:pt x="222" y="665"/>
                  </a:lnTo>
                  <a:lnTo>
                    <a:pt x="248" y="691"/>
                  </a:lnTo>
                  <a:cubicBezTo>
                    <a:pt x="256" y="698"/>
                    <a:pt x="267" y="702"/>
                    <a:pt x="277" y="702"/>
                  </a:cubicBezTo>
                  <a:cubicBezTo>
                    <a:pt x="288" y="702"/>
                    <a:pt x="297" y="698"/>
                    <a:pt x="305" y="691"/>
                  </a:cubicBezTo>
                  <a:lnTo>
                    <a:pt x="346" y="650"/>
                  </a:lnTo>
                  <a:cubicBezTo>
                    <a:pt x="354" y="641"/>
                    <a:pt x="354" y="628"/>
                    <a:pt x="346" y="619"/>
                  </a:cubicBezTo>
                  <a:cubicBezTo>
                    <a:pt x="338" y="611"/>
                    <a:pt x="324" y="611"/>
                    <a:pt x="316" y="619"/>
                  </a:cubicBezTo>
                  <a:lnTo>
                    <a:pt x="277" y="659"/>
                  </a:lnTo>
                  <a:lnTo>
                    <a:pt x="238" y="620"/>
                  </a:lnTo>
                  <a:cubicBezTo>
                    <a:pt x="238" y="620"/>
                    <a:pt x="239" y="619"/>
                    <a:pt x="238" y="619"/>
                  </a:cubicBezTo>
                  <a:cubicBezTo>
                    <a:pt x="234" y="614"/>
                    <a:pt x="228" y="613"/>
                    <a:pt x="222" y="613"/>
                  </a:cubicBezTo>
                  <a:cubicBezTo>
                    <a:pt x="217" y="613"/>
                    <a:pt x="211" y="614"/>
                    <a:pt x="207" y="619"/>
                  </a:cubicBezTo>
                  <a:cubicBezTo>
                    <a:pt x="207" y="619"/>
                    <a:pt x="207" y="620"/>
                    <a:pt x="207" y="620"/>
                  </a:cubicBezTo>
                  <a:lnTo>
                    <a:pt x="168" y="659"/>
                  </a:lnTo>
                  <a:lnTo>
                    <a:pt x="137" y="627"/>
                  </a:lnTo>
                  <a:cubicBezTo>
                    <a:pt x="136" y="626"/>
                    <a:pt x="135" y="625"/>
                    <a:pt x="135" y="624"/>
                  </a:cubicBezTo>
                  <a:lnTo>
                    <a:pt x="135" y="578"/>
                  </a:lnTo>
                  <a:lnTo>
                    <a:pt x="325" y="578"/>
                  </a:lnTo>
                  <a:cubicBezTo>
                    <a:pt x="355" y="578"/>
                    <a:pt x="378" y="554"/>
                    <a:pt x="378" y="525"/>
                  </a:cubicBezTo>
                  <a:lnTo>
                    <a:pt x="378" y="517"/>
                  </a:lnTo>
                  <a:cubicBezTo>
                    <a:pt x="378" y="495"/>
                    <a:pt x="365" y="477"/>
                    <a:pt x="347" y="468"/>
                  </a:cubicBezTo>
                  <a:lnTo>
                    <a:pt x="347" y="419"/>
                  </a:lnTo>
                  <a:cubicBezTo>
                    <a:pt x="347" y="404"/>
                    <a:pt x="352" y="392"/>
                    <a:pt x="362" y="38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41" name="Freeform 217">
              <a:extLst>
                <a:ext uri="{FF2B5EF4-FFF2-40B4-BE49-F238E27FC236}">
                  <a16:creationId xmlns:a16="http://schemas.microsoft.com/office/drawing/2014/main" id="{D8EF73A1-A7A3-4A43-B956-B110DFEED3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3875" y="4178300"/>
              <a:ext cx="30163" cy="104775"/>
            </a:xfrm>
            <a:custGeom>
              <a:avLst/>
              <a:gdLst>
                <a:gd name="T0" fmla="*/ 14794 w 44"/>
                <a:gd name="T1" fmla="*/ 104673 h 148"/>
                <a:gd name="T2" fmla="*/ 30292 w 44"/>
                <a:gd name="T3" fmla="*/ 89720 h 148"/>
                <a:gd name="T4" fmla="*/ 30292 w 44"/>
                <a:gd name="T5" fmla="*/ 14953 h 148"/>
                <a:gd name="T6" fmla="*/ 14794 w 44"/>
                <a:gd name="T7" fmla="*/ 0 h 148"/>
                <a:gd name="T8" fmla="*/ 0 w 44"/>
                <a:gd name="T9" fmla="*/ 14953 h 148"/>
                <a:gd name="T10" fmla="*/ 0 w 44"/>
                <a:gd name="T11" fmla="*/ 89720 h 148"/>
                <a:gd name="T12" fmla="*/ 14794 w 44"/>
                <a:gd name="T13" fmla="*/ 104673 h 1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48">
                  <a:moveTo>
                    <a:pt x="21" y="147"/>
                  </a:moveTo>
                  <a:cubicBezTo>
                    <a:pt x="33" y="147"/>
                    <a:pt x="43" y="138"/>
                    <a:pt x="43" y="126"/>
                  </a:cubicBezTo>
                  <a:lnTo>
                    <a:pt x="43" y="21"/>
                  </a:lnTo>
                  <a:cubicBezTo>
                    <a:pt x="43" y="9"/>
                    <a:pt x="33" y="0"/>
                    <a:pt x="21" y="0"/>
                  </a:cubicBezTo>
                  <a:cubicBezTo>
                    <a:pt x="10" y="0"/>
                    <a:pt x="0" y="9"/>
                    <a:pt x="0" y="21"/>
                  </a:cubicBezTo>
                  <a:lnTo>
                    <a:pt x="0" y="126"/>
                  </a:lnTo>
                  <a:cubicBezTo>
                    <a:pt x="0" y="138"/>
                    <a:pt x="10" y="147"/>
                    <a:pt x="21" y="14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42" name="Freeform 218">
              <a:extLst>
                <a:ext uri="{FF2B5EF4-FFF2-40B4-BE49-F238E27FC236}">
                  <a16:creationId xmlns:a16="http://schemas.microsoft.com/office/drawing/2014/main" id="{63FAD169-4D9B-46EC-9AD6-0742C2D7F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06438" y="4459288"/>
              <a:ext cx="104775" cy="31750"/>
            </a:xfrm>
            <a:custGeom>
              <a:avLst/>
              <a:gdLst>
                <a:gd name="T0" fmla="*/ 89825 w 149"/>
                <a:gd name="T1" fmla="*/ 0 h 44"/>
                <a:gd name="T2" fmla="*/ 15560 w 149"/>
                <a:gd name="T3" fmla="*/ 0 h 44"/>
                <a:gd name="T4" fmla="*/ 0 w 149"/>
                <a:gd name="T5" fmla="*/ 14794 h 44"/>
                <a:gd name="T6" fmla="*/ 15560 w 149"/>
                <a:gd name="T7" fmla="*/ 30292 h 44"/>
                <a:gd name="T8" fmla="*/ 89825 w 149"/>
                <a:gd name="T9" fmla="*/ 30292 h 44"/>
                <a:gd name="T10" fmla="*/ 104678 w 149"/>
                <a:gd name="T11" fmla="*/ 14794 h 44"/>
                <a:gd name="T12" fmla="*/ 89825 w 149"/>
                <a:gd name="T13" fmla="*/ 0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9" h="44">
                  <a:moveTo>
                    <a:pt x="127" y="0"/>
                  </a:moveTo>
                  <a:lnTo>
                    <a:pt x="22" y="0"/>
                  </a:lnTo>
                  <a:cubicBezTo>
                    <a:pt x="10" y="0"/>
                    <a:pt x="0" y="10"/>
                    <a:pt x="0" y="21"/>
                  </a:cubicBezTo>
                  <a:cubicBezTo>
                    <a:pt x="0" y="33"/>
                    <a:pt x="10" y="43"/>
                    <a:pt x="22" y="43"/>
                  </a:cubicBezTo>
                  <a:lnTo>
                    <a:pt x="127" y="43"/>
                  </a:lnTo>
                  <a:cubicBezTo>
                    <a:pt x="138" y="43"/>
                    <a:pt x="148" y="33"/>
                    <a:pt x="148" y="21"/>
                  </a:cubicBezTo>
                  <a:cubicBezTo>
                    <a:pt x="148" y="10"/>
                    <a:pt x="138" y="0"/>
                    <a:pt x="127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43" name="Freeform 219">
              <a:extLst>
                <a:ext uri="{FF2B5EF4-FFF2-40B4-BE49-F238E27FC236}">
                  <a16:creationId xmlns:a16="http://schemas.microsoft.com/office/drawing/2014/main" id="{5881FABF-E6A2-4943-A840-CA4BA3DEEF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63525" y="4459288"/>
              <a:ext cx="104775" cy="31750"/>
            </a:xfrm>
            <a:custGeom>
              <a:avLst/>
              <a:gdLst>
                <a:gd name="T0" fmla="*/ 104673 w 148"/>
                <a:gd name="T1" fmla="*/ 14794 h 44"/>
                <a:gd name="T2" fmla="*/ 89720 w 148"/>
                <a:gd name="T3" fmla="*/ 0 h 44"/>
                <a:gd name="T4" fmla="*/ 14953 w 148"/>
                <a:gd name="T5" fmla="*/ 0 h 44"/>
                <a:gd name="T6" fmla="*/ 0 w 148"/>
                <a:gd name="T7" fmla="*/ 14794 h 44"/>
                <a:gd name="T8" fmla="*/ 14953 w 148"/>
                <a:gd name="T9" fmla="*/ 30292 h 44"/>
                <a:gd name="T10" fmla="*/ 89720 w 148"/>
                <a:gd name="T11" fmla="*/ 30292 h 44"/>
                <a:gd name="T12" fmla="*/ 104673 w 148"/>
                <a:gd name="T13" fmla="*/ 14794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8" h="44">
                  <a:moveTo>
                    <a:pt x="147" y="21"/>
                  </a:moveTo>
                  <a:cubicBezTo>
                    <a:pt x="147" y="10"/>
                    <a:pt x="138" y="0"/>
                    <a:pt x="126" y="0"/>
                  </a:cubicBezTo>
                  <a:lnTo>
                    <a:pt x="21" y="0"/>
                  </a:lnTo>
                  <a:cubicBezTo>
                    <a:pt x="9" y="0"/>
                    <a:pt x="0" y="10"/>
                    <a:pt x="0" y="21"/>
                  </a:cubicBezTo>
                  <a:cubicBezTo>
                    <a:pt x="0" y="33"/>
                    <a:pt x="10" y="43"/>
                    <a:pt x="21" y="43"/>
                  </a:cubicBezTo>
                  <a:lnTo>
                    <a:pt x="126" y="43"/>
                  </a:lnTo>
                  <a:cubicBezTo>
                    <a:pt x="138" y="43"/>
                    <a:pt x="147" y="33"/>
                    <a:pt x="147" y="2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44" name="Freeform 220">
              <a:extLst>
                <a:ext uri="{FF2B5EF4-FFF2-40B4-BE49-F238E27FC236}">
                  <a16:creationId xmlns:a16="http://schemas.microsoft.com/office/drawing/2014/main" id="{7C16C568-FCFD-47D6-9738-F1E0265CF7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65163" y="4264025"/>
              <a:ext cx="87312" cy="84138"/>
            </a:xfrm>
            <a:custGeom>
              <a:avLst/>
              <a:gdLst>
                <a:gd name="T0" fmla="*/ 16362 w 122"/>
                <a:gd name="T1" fmla="*/ 82991 h 120"/>
                <a:gd name="T2" fmla="*/ 27032 w 122"/>
                <a:gd name="T3" fmla="*/ 78806 h 120"/>
                <a:gd name="T4" fmla="*/ 80386 w 122"/>
                <a:gd name="T5" fmla="*/ 27199 h 120"/>
                <a:gd name="T6" fmla="*/ 80386 w 122"/>
                <a:gd name="T7" fmla="*/ 6277 h 120"/>
                <a:gd name="T8" fmla="*/ 59044 w 122"/>
                <a:gd name="T9" fmla="*/ 6277 h 120"/>
                <a:gd name="T10" fmla="*/ 5691 w 122"/>
                <a:gd name="T11" fmla="*/ 57187 h 120"/>
                <a:gd name="T12" fmla="*/ 5691 w 122"/>
                <a:gd name="T13" fmla="*/ 78109 h 120"/>
                <a:gd name="T14" fmla="*/ 16362 w 122"/>
                <a:gd name="T15" fmla="*/ 82991 h 1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2" h="120">
                  <a:moveTo>
                    <a:pt x="23" y="119"/>
                  </a:moveTo>
                  <a:cubicBezTo>
                    <a:pt x="29" y="119"/>
                    <a:pt x="34" y="117"/>
                    <a:pt x="38" y="113"/>
                  </a:cubicBezTo>
                  <a:lnTo>
                    <a:pt x="113" y="39"/>
                  </a:lnTo>
                  <a:cubicBezTo>
                    <a:pt x="121" y="31"/>
                    <a:pt x="121" y="17"/>
                    <a:pt x="113" y="9"/>
                  </a:cubicBezTo>
                  <a:cubicBezTo>
                    <a:pt x="105" y="0"/>
                    <a:pt x="91" y="0"/>
                    <a:pt x="83" y="9"/>
                  </a:cubicBezTo>
                  <a:lnTo>
                    <a:pt x="8" y="82"/>
                  </a:lnTo>
                  <a:cubicBezTo>
                    <a:pt x="0" y="90"/>
                    <a:pt x="0" y="104"/>
                    <a:pt x="8" y="112"/>
                  </a:cubicBezTo>
                  <a:cubicBezTo>
                    <a:pt x="12" y="117"/>
                    <a:pt x="18" y="119"/>
                    <a:pt x="23" y="11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45" name="Freeform 221">
              <a:extLst>
                <a:ext uri="{FF2B5EF4-FFF2-40B4-BE49-F238E27FC236}">
                  <a16:creationId xmlns:a16="http://schemas.microsoft.com/office/drawing/2014/main" id="{5A1DEF51-D1A0-4001-9084-14CCD51E1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36550" y="4589463"/>
              <a:ext cx="87313" cy="84137"/>
            </a:xfrm>
            <a:custGeom>
              <a:avLst/>
              <a:gdLst>
                <a:gd name="T0" fmla="*/ 59044 w 122"/>
                <a:gd name="T1" fmla="*/ 5626 h 119"/>
                <a:gd name="T2" fmla="*/ 5691 w 122"/>
                <a:gd name="T3" fmla="*/ 57668 h 119"/>
                <a:gd name="T4" fmla="*/ 5691 w 122"/>
                <a:gd name="T5" fmla="*/ 78766 h 119"/>
                <a:gd name="T6" fmla="*/ 16362 w 122"/>
                <a:gd name="T7" fmla="*/ 82986 h 119"/>
                <a:gd name="T8" fmla="*/ 27032 w 122"/>
                <a:gd name="T9" fmla="*/ 78766 h 119"/>
                <a:gd name="T10" fmla="*/ 80386 w 122"/>
                <a:gd name="T11" fmla="*/ 26724 h 119"/>
                <a:gd name="T12" fmla="*/ 80386 w 122"/>
                <a:gd name="T13" fmla="*/ 5626 h 119"/>
                <a:gd name="T14" fmla="*/ 59044 w 122"/>
                <a:gd name="T15" fmla="*/ 5626 h 1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2" h="119">
                  <a:moveTo>
                    <a:pt x="83" y="8"/>
                  </a:moveTo>
                  <a:lnTo>
                    <a:pt x="8" y="82"/>
                  </a:lnTo>
                  <a:cubicBezTo>
                    <a:pt x="0" y="90"/>
                    <a:pt x="0" y="103"/>
                    <a:pt x="8" y="112"/>
                  </a:cubicBezTo>
                  <a:cubicBezTo>
                    <a:pt x="12" y="116"/>
                    <a:pt x="17" y="118"/>
                    <a:pt x="23" y="118"/>
                  </a:cubicBezTo>
                  <a:cubicBezTo>
                    <a:pt x="28" y="118"/>
                    <a:pt x="34" y="116"/>
                    <a:pt x="38" y="112"/>
                  </a:cubicBezTo>
                  <a:lnTo>
                    <a:pt x="113" y="38"/>
                  </a:lnTo>
                  <a:cubicBezTo>
                    <a:pt x="121" y="30"/>
                    <a:pt x="121" y="16"/>
                    <a:pt x="113" y="8"/>
                  </a:cubicBezTo>
                  <a:cubicBezTo>
                    <a:pt x="105" y="0"/>
                    <a:pt x="91" y="0"/>
                    <a:pt x="83" y="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46" name="Freeform 222">
              <a:extLst>
                <a:ext uri="{FF2B5EF4-FFF2-40B4-BE49-F238E27FC236}">
                  <a16:creationId xmlns:a16="http://schemas.microsoft.com/office/drawing/2014/main" id="{DC249F23-9EC6-4161-B802-2301A85EDF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36550" y="4264025"/>
              <a:ext cx="87313" cy="84138"/>
            </a:xfrm>
            <a:custGeom>
              <a:avLst/>
              <a:gdLst>
                <a:gd name="T0" fmla="*/ 59044 w 122"/>
                <a:gd name="T1" fmla="*/ 78765 h 119"/>
                <a:gd name="T2" fmla="*/ 69715 w 122"/>
                <a:gd name="T3" fmla="*/ 82985 h 119"/>
                <a:gd name="T4" fmla="*/ 80386 w 122"/>
                <a:gd name="T5" fmla="*/ 78765 h 119"/>
                <a:gd name="T6" fmla="*/ 80386 w 122"/>
                <a:gd name="T7" fmla="*/ 57667 h 119"/>
                <a:gd name="T8" fmla="*/ 27032 w 122"/>
                <a:gd name="T9" fmla="*/ 5626 h 119"/>
                <a:gd name="T10" fmla="*/ 5691 w 122"/>
                <a:gd name="T11" fmla="*/ 5626 h 119"/>
                <a:gd name="T12" fmla="*/ 5691 w 122"/>
                <a:gd name="T13" fmla="*/ 26724 h 119"/>
                <a:gd name="T14" fmla="*/ 59044 w 122"/>
                <a:gd name="T15" fmla="*/ 78765 h 1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2" h="119">
                  <a:moveTo>
                    <a:pt x="83" y="112"/>
                  </a:moveTo>
                  <a:cubicBezTo>
                    <a:pt x="87" y="116"/>
                    <a:pt x="93" y="118"/>
                    <a:pt x="98" y="118"/>
                  </a:cubicBezTo>
                  <a:cubicBezTo>
                    <a:pt x="104" y="118"/>
                    <a:pt x="109" y="116"/>
                    <a:pt x="113" y="112"/>
                  </a:cubicBezTo>
                  <a:cubicBezTo>
                    <a:pt x="121" y="103"/>
                    <a:pt x="121" y="90"/>
                    <a:pt x="113" y="82"/>
                  </a:cubicBezTo>
                  <a:lnTo>
                    <a:pt x="38" y="8"/>
                  </a:lnTo>
                  <a:cubicBezTo>
                    <a:pt x="29" y="0"/>
                    <a:pt x="16" y="0"/>
                    <a:pt x="8" y="8"/>
                  </a:cubicBezTo>
                  <a:cubicBezTo>
                    <a:pt x="0" y="17"/>
                    <a:pt x="0" y="30"/>
                    <a:pt x="8" y="38"/>
                  </a:cubicBezTo>
                  <a:lnTo>
                    <a:pt x="83" y="11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47" name="Freeform 223">
              <a:extLst>
                <a:ext uri="{FF2B5EF4-FFF2-40B4-BE49-F238E27FC236}">
                  <a16:creationId xmlns:a16="http://schemas.microsoft.com/office/drawing/2014/main" id="{F297EBE6-B796-483B-A04F-E28912BAC0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65163" y="4589463"/>
              <a:ext cx="87312" cy="84137"/>
            </a:xfrm>
            <a:custGeom>
              <a:avLst/>
              <a:gdLst>
                <a:gd name="T0" fmla="*/ 27032 w 122"/>
                <a:gd name="T1" fmla="*/ 5626 h 119"/>
                <a:gd name="T2" fmla="*/ 5691 w 122"/>
                <a:gd name="T3" fmla="*/ 5626 h 119"/>
                <a:gd name="T4" fmla="*/ 5691 w 122"/>
                <a:gd name="T5" fmla="*/ 26724 h 119"/>
                <a:gd name="T6" fmla="*/ 59044 w 122"/>
                <a:gd name="T7" fmla="*/ 78766 h 119"/>
                <a:gd name="T8" fmla="*/ 69715 w 122"/>
                <a:gd name="T9" fmla="*/ 82986 h 119"/>
                <a:gd name="T10" fmla="*/ 80386 w 122"/>
                <a:gd name="T11" fmla="*/ 78766 h 119"/>
                <a:gd name="T12" fmla="*/ 80386 w 122"/>
                <a:gd name="T13" fmla="*/ 57668 h 119"/>
                <a:gd name="T14" fmla="*/ 27032 w 122"/>
                <a:gd name="T15" fmla="*/ 5626 h 1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2" h="119">
                  <a:moveTo>
                    <a:pt x="38" y="8"/>
                  </a:moveTo>
                  <a:cubicBezTo>
                    <a:pt x="30" y="0"/>
                    <a:pt x="16" y="0"/>
                    <a:pt x="8" y="8"/>
                  </a:cubicBezTo>
                  <a:cubicBezTo>
                    <a:pt x="0" y="17"/>
                    <a:pt x="0" y="30"/>
                    <a:pt x="8" y="38"/>
                  </a:cubicBezTo>
                  <a:lnTo>
                    <a:pt x="83" y="112"/>
                  </a:lnTo>
                  <a:cubicBezTo>
                    <a:pt x="87" y="116"/>
                    <a:pt x="93" y="118"/>
                    <a:pt x="98" y="118"/>
                  </a:cubicBezTo>
                  <a:cubicBezTo>
                    <a:pt x="103" y="118"/>
                    <a:pt x="109" y="116"/>
                    <a:pt x="113" y="112"/>
                  </a:cubicBezTo>
                  <a:cubicBezTo>
                    <a:pt x="121" y="104"/>
                    <a:pt x="121" y="90"/>
                    <a:pt x="113" y="82"/>
                  </a:cubicBezTo>
                  <a:lnTo>
                    <a:pt x="38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</p:grpSp>
      <p:grpSp>
        <p:nvGrpSpPr>
          <p:cNvPr id="48" name="Groupe 41">
            <a:extLst>
              <a:ext uri="{FF2B5EF4-FFF2-40B4-BE49-F238E27FC236}">
                <a16:creationId xmlns:a16="http://schemas.microsoft.com/office/drawing/2014/main" id="{629937A9-77EB-4D3B-BEE0-D46B6E4D657B}"/>
              </a:ext>
            </a:extLst>
          </p:cNvPr>
          <p:cNvGrpSpPr>
            <a:grpSpLocks noChangeAspect="1"/>
          </p:cNvGrpSpPr>
          <p:nvPr/>
        </p:nvGrpSpPr>
        <p:grpSpPr>
          <a:xfrm>
            <a:off x="3244987" y="3580419"/>
            <a:ext cx="337758" cy="241746"/>
            <a:chOff x="8896350" y="2692400"/>
            <a:chExt cx="625475" cy="447675"/>
          </a:xfrm>
          <a:solidFill>
            <a:schemeClr val="bg1"/>
          </a:solidFill>
        </p:grpSpPr>
        <p:sp>
          <p:nvSpPr>
            <p:cNvPr id="49" name="Freeform 162">
              <a:extLst>
                <a:ext uri="{FF2B5EF4-FFF2-40B4-BE49-F238E27FC236}">
                  <a16:creationId xmlns:a16="http://schemas.microsoft.com/office/drawing/2014/main" id="{B0B3FDBF-C59C-46ED-938C-7277804619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1300" y="2692400"/>
              <a:ext cx="161925" cy="198438"/>
            </a:xfrm>
            <a:custGeom>
              <a:avLst/>
              <a:gdLst>
                <a:gd name="T0" fmla="*/ 79888 w 230"/>
                <a:gd name="T1" fmla="*/ 197669 h 282"/>
                <a:gd name="T2" fmla="*/ 160476 w 230"/>
                <a:gd name="T3" fmla="*/ 117476 h 282"/>
                <a:gd name="T4" fmla="*/ 160476 w 230"/>
                <a:gd name="T5" fmla="*/ 80193 h 282"/>
                <a:gd name="T6" fmla="*/ 79888 w 230"/>
                <a:gd name="T7" fmla="*/ 0 h 282"/>
                <a:gd name="T8" fmla="*/ 0 w 230"/>
                <a:gd name="T9" fmla="*/ 80193 h 282"/>
                <a:gd name="T10" fmla="*/ 0 w 230"/>
                <a:gd name="T11" fmla="*/ 117476 h 282"/>
                <a:gd name="T12" fmla="*/ 79888 w 230"/>
                <a:gd name="T13" fmla="*/ 197669 h 282"/>
                <a:gd name="T14" fmla="*/ 29432 w 230"/>
                <a:gd name="T15" fmla="*/ 80193 h 282"/>
                <a:gd name="T16" fmla="*/ 79888 w 230"/>
                <a:gd name="T17" fmla="*/ 29545 h 282"/>
                <a:gd name="T18" fmla="*/ 130343 w 230"/>
                <a:gd name="T19" fmla="*/ 80193 h 282"/>
                <a:gd name="T20" fmla="*/ 130343 w 230"/>
                <a:gd name="T21" fmla="*/ 117476 h 282"/>
                <a:gd name="T22" fmla="*/ 79888 w 230"/>
                <a:gd name="T23" fmla="*/ 168124 h 282"/>
                <a:gd name="T24" fmla="*/ 29432 w 230"/>
                <a:gd name="T25" fmla="*/ 117476 h 282"/>
                <a:gd name="T26" fmla="*/ 29432 w 230"/>
                <a:gd name="T27" fmla="*/ 80193 h 28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30" h="282">
                  <a:moveTo>
                    <a:pt x="114" y="281"/>
                  </a:moveTo>
                  <a:cubicBezTo>
                    <a:pt x="178" y="281"/>
                    <a:pt x="229" y="230"/>
                    <a:pt x="229" y="167"/>
                  </a:cubicBezTo>
                  <a:lnTo>
                    <a:pt x="229" y="114"/>
                  </a:lnTo>
                  <a:cubicBezTo>
                    <a:pt x="229" y="51"/>
                    <a:pt x="177" y="0"/>
                    <a:pt x="114" y="0"/>
                  </a:cubicBezTo>
                  <a:cubicBezTo>
                    <a:pt x="50" y="0"/>
                    <a:pt x="0" y="51"/>
                    <a:pt x="0" y="114"/>
                  </a:cubicBezTo>
                  <a:lnTo>
                    <a:pt x="0" y="167"/>
                  </a:lnTo>
                  <a:cubicBezTo>
                    <a:pt x="0" y="230"/>
                    <a:pt x="51" y="281"/>
                    <a:pt x="114" y="281"/>
                  </a:cubicBezTo>
                  <a:close/>
                  <a:moveTo>
                    <a:pt x="42" y="114"/>
                  </a:moveTo>
                  <a:cubicBezTo>
                    <a:pt x="42" y="74"/>
                    <a:pt x="74" y="42"/>
                    <a:pt x="114" y="42"/>
                  </a:cubicBezTo>
                  <a:cubicBezTo>
                    <a:pt x="153" y="42"/>
                    <a:pt x="186" y="74"/>
                    <a:pt x="186" y="114"/>
                  </a:cubicBezTo>
                  <a:lnTo>
                    <a:pt x="186" y="167"/>
                  </a:lnTo>
                  <a:cubicBezTo>
                    <a:pt x="186" y="207"/>
                    <a:pt x="154" y="239"/>
                    <a:pt x="114" y="239"/>
                  </a:cubicBezTo>
                  <a:cubicBezTo>
                    <a:pt x="75" y="239"/>
                    <a:pt x="42" y="207"/>
                    <a:pt x="42" y="167"/>
                  </a:cubicBezTo>
                  <a:lnTo>
                    <a:pt x="42" y="11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50" name="Freeform 163">
              <a:extLst>
                <a:ext uri="{FF2B5EF4-FFF2-40B4-BE49-F238E27FC236}">
                  <a16:creationId xmlns:a16="http://schemas.microsoft.com/office/drawing/2014/main" id="{8E0B9061-D096-46BC-952D-30DC031517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5563" y="2733675"/>
              <a:ext cx="149225" cy="182563"/>
            </a:xfrm>
            <a:custGeom>
              <a:avLst/>
              <a:gdLst>
                <a:gd name="T0" fmla="*/ 74390 w 212"/>
                <a:gd name="T1" fmla="*/ 182171 h 260"/>
                <a:gd name="T2" fmla="*/ 148077 w 212"/>
                <a:gd name="T3" fmla="*/ 107614 h 260"/>
                <a:gd name="T4" fmla="*/ 148077 w 212"/>
                <a:gd name="T5" fmla="*/ 73853 h 260"/>
                <a:gd name="T6" fmla="*/ 74390 w 212"/>
                <a:gd name="T7" fmla="*/ 0 h 260"/>
                <a:gd name="T8" fmla="*/ 0 w 212"/>
                <a:gd name="T9" fmla="*/ 73853 h 260"/>
                <a:gd name="T10" fmla="*/ 0 w 212"/>
                <a:gd name="T11" fmla="*/ 107614 h 260"/>
                <a:gd name="T12" fmla="*/ 74390 w 212"/>
                <a:gd name="T13" fmla="*/ 182171 h 260"/>
                <a:gd name="T14" fmla="*/ 30177 w 212"/>
                <a:gd name="T15" fmla="*/ 74556 h 260"/>
                <a:gd name="T16" fmla="*/ 74390 w 212"/>
                <a:gd name="T17" fmla="*/ 30245 h 260"/>
                <a:gd name="T18" fmla="*/ 118602 w 212"/>
                <a:gd name="T19" fmla="*/ 74556 h 260"/>
                <a:gd name="T20" fmla="*/ 118602 w 212"/>
                <a:gd name="T21" fmla="*/ 107614 h 260"/>
                <a:gd name="T22" fmla="*/ 74390 w 212"/>
                <a:gd name="T23" fmla="*/ 151926 h 260"/>
                <a:gd name="T24" fmla="*/ 30177 w 212"/>
                <a:gd name="T25" fmla="*/ 107614 h 260"/>
                <a:gd name="T26" fmla="*/ 30177 w 212"/>
                <a:gd name="T27" fmla="*/ 74556 h 26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2" h="260">
                  <a:moveTo>
                    <a:pt x="106" y="259"/>
                  </a:moveTo>
                  <a:cubicBezTo>
                    <a:pt x="164" y="259"/>
                    <a:pt x="211" y="211"/>
                    <a:pt x="211" y="153"/>
                  </a:cubicBezTo>
                  <a:lnTo>
                    <a:pt x="211" y="105"/>
                  </a:lnTo>
                  <a:cubicBezTo>
                    <a:pt x="211" y="47"/>
                    <a:pt x="164" y="0"/>
                    <a:pt x="106" y="0"/>
                  </a:cubicBezTo>
                  <a:cubicBezTo>
                    <a:pt x="48" y="0"/>
                    <a:pt x="0" y="47"/>
                    <a:pt x="0" y="105"/>
                  </a:cubicBezTo>
                  <a:lnTo>
                    <a:pt x="0" y="153"/>
                  </a:lnTo>
                  <a:cubicBezTo>
                    <a:pt x="0" y="212"/>
                    <a:pt x="48" y="259"/>
                    <a:pt x="106" y="259"/>
                  </a:cubicBezTo>
                  <a:close/>
                  <a:moveTo>
                    <a:pt x="43" y="106"/>
                  </a:moveTo>
                  <a:cubicBezTo>
                    <a:pt x="43" y="71"/>
                    <a:pt x="71" y="43"/>
                    <a:pt x="106" y="43"/>
                  </a:cubicBezTo>
                  <a:cubicBezTo>
                    <a:pt x="141" y="43"/>
                    <a:pt x="169" y="71"/>
                    <a:pt x="169" y="106"/>
                  </a:cubicBezTo>
                  <a:lnTo>
                    <a:pt x="169" y="153"/>
                  </a:lnTo>
                  <a:cubicBezTo>
                    <a:pt x="169" y="188"/>
                    <a:pt x="141" y="216"/>
                    <a:pt x="106" y="216"/>
                  </a:cubicBezTo>
                  <a:cubicBezTo>
                    <a:pt x="71" y="216"/>
                    <a:pt x="43" y="188"/>
                    <a:pt x="43" y="153"/>
                  </a:cubicBezTo>
                  <a:lnTo>
                    <a:pt x="43" y="10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51" name="Freeform 164">
              <a:extLst>
                <a:ext uri="{FF2B5EF4-FFF2-40B4-BE49-F238E27FC236}">
                  <a16:creationId xmlns:a16="http://schemas.microsoft.com/office/drawing/2014/main" id="{83B368FF-5D28-49EE-9823-EA0F0A5CA7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6350" y="2935288"/>
              <a:ext cx="188913" cy="204787"/>
            </a:xfrm>
            <a:custGeom>
              <a:avLst/>
              <a:gdLst>
                <a:gd name="T0" fmla="*/ 184841 w 268"/>
                <a:gd name="T1" fmla="*/ 31146 h 289"/>
                <a:gd name="T2" fmla="*/ 177081 w 268"/>
                <a:gd name="T3" fmla="*/ 10618 h 289"/>
                <a:gd name="T4" fmla="*/ 126285 w 268"/>
                <a:gd name="T5" fmla="*/ 0 h 289"/>
                <a:gd name="T6" fmla="*/ 0 w 268"/>
                <a:gd name="T7" fmla="*/ 126707 h 289"/>
                <a:gd name="T8" fmla="*/ 0 w 268"/>
                <a:gd name="T9" fmla="*/ 188998 h 289"/>
                <a:gd name="T10" fmla="*/ 15521 w 268"/>
                <a:gd name="T11" fmla="*/ 203863 h 289"/>
                <a:gd name="T12" fmla="*/ 112175 w 268"/>
                <a:gd name="T13" fmla="*/ 203863 h 289"/>
                <a:gd name="T14" fmla="*/ 126990 w 268"/>
                <a:gd name="T15" fmla="*/ 188998 h 289"/>
                <a:gd name="T16" fmla="*/ 112175 w 268"/>
                <a:gd name="T17" fmla="*/ 174133 h 289"/>
                <a:gd name="T18" fmla="*/ 30337 w 268"/>
                <a:gd name="T19" fmla="*/ 174133 h 289"/>
                <a:gd name="T20" fmla="*/ 30337 w 268"/>
                <a:gd name="T21" fmla="*/ 126707 h 289"/>
                <a:gd name="T22" fmla="*/ 126285 w 268"/>
                <a:gd name="T23" fmla="*/ 29730 h 289"/>
                <a:gd name="T24" fmla="*/ 165087 w 268"/>
                <a:gd name="T25" fmla="*/ 38224 h 289"/>
                <a:gd name="T26" fmla="*/ 184841 w 268"/>
                <a:gd name="T27" fmla="*/ 31146 h 28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68" h="289">
                  <a:moveTo>
                    <a:pt x="262" y="44"/>
                  </a:moveTo>
                  <a:cubicBezTo>
                    <a:pt x="267" y="33"/>
                    <a:pt x="262" y="20"/>
                    <a:pt x="251" y="15"/>
                  </a:cubicBezTo>
                  <a:cubicBezTo>
                    <a:pt x="228" y="5"/>
                    <a:pt x="204" y="0"/>
                    <a:pt x="179" y="0"/>
                  </a:cubicBezTo>
                  <a:cubicBezTo>
                    <a:pt x="80" y="0"/>
                    <a:pt x="0" y="80"/>
                    <a:pt x="0" y="179"/>
                  </a:cubicBezTo>
                  <a:lnTo>
                    <a:pt x="0" y="267"/>
                  </a:lnTo>
                  <a:cubicBezTo>
                    <a:pt x="0" y="279"/>
                    <a:pt x="10" y="288"/>
                    <a:pt x="22" y="288"/>
                  </a:cubicBezTo>
                  <a:lnTo>
                    <a:pt x="159" y="288"/>
                  </a:lnTo>
                  <a:cubicBezTo>
                    <a:pt x="171" y="288"/>
                    <a:pt x="180" y="278"/>
                    <a:pt x="180" y="267"/>
                  </a:cubicBezTo>
                  <a:cubicBezTo>
                    <a:pt x="180" y="255"/>
                    <a:pt x="171" y="246"/>
                    <a:pt x="159" y="246"/>
                  </a:cubicBezTo>
                  <a:lnTo>
                    <a:pt x="43" y="246"/>
                  </a:lnTo>
                  <a:lnTo>
                    <a:pt x="43" y="179"/>
                  </a:lnTo>
                  <a:cubicBezTo>
                    <a:pt x="43" y="103"/>
                    <a:pt x="104" y="42"/>
                    <a:pt x="179" y="42"/>
                  </a:cubicBezTo>
                  <a:cubicBezTo>
                    <a:pt x="198" y="42"/>
                    <a:pt x="217" y="46"/>
                    <a:pt x="234" y="54"/>
                  </a:cubicBezTo>
                  <a:cubicBezTo>
                    <a:pt x="244" y="59"/>
                    <a:pt x="257" y="54"/>
                    <a:pt x="262" y="4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52" name="Freeform 165">
              <a:extLst>
                <a:ext uri="{FF2B5EF4-FFF2-40B4-BE49-F238E27FC236}">
                  <a16:creationId xmlns:a16="http://schemas.microsoft.com/office/drawing/2014/main" id="{7F67FA52-7390-421C-B8DF-6CEFDDDFED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3388" y="2733675"/>
              <a:ext cx="149225" cy="182563"/>
            </a:xfrm>
            <a:custGeom>
              <a:avLst/>
              <a:gdLst>
                <a:gd name="T0" fmla="*/ 73688 w 212"/>
                <a:gd name="T1" fmla="*/ 182171 h 260"/>
                <a:gd name="T2" fmla="*/ 148077 w 212"/>
                <a:gd name="T3" fmla="*/ 107614 h 260"/>
                <a:gd name="T4" fmla="*/ 148077 w 212"/>
                <a:gd name="T5" fmla="*/ 73853 h 260"/>
                <a:gd name="T6" fmla="*/ 73688 w 212"/>
                <a:gd name="T7" fmla="*/ 0 h 260"/>
                <a:gd name="T8" fmla="*/ 0 w 212"/>
                <a:gd name="T9" fmla="*/ 73853 h 260"/>
                <a:gd name="T10" fmla="*/ 0 w 212"/>
                <a:gd name="T11" fmla="*/ 107614 h 260"/>
                <a:gd name="T12" fmla="*/ 73688 w 212"/>
                <a:gd name="T13" fmla="*/ 182171 h 260"/>
                <a:gd name="T14" fmla="*/ 29475 w 212"/>
                <a:gd name="T15" fmla="*/ 74556 h 260"/>
                <a:gd name="T16" fmla="*/ 73688 w 212"/>
                <a:gd name="T17" fmla="*/ 30245 h 260"/>
                <a:gd name="T18" fmla="*/ 117900 w 212"/>
                <a:gd name="T19" fmla="*/ 74556 h 260"/>
                <a:gd name="T20" fmla="*/ 117900 w 212"/>
                <a:gd name="T21" fmla="*/ 107614 h 260"/>
                <a:gd name="T22" fmla="*/ 73688 w 212"/>
                <a:gd name="T23" fmla="*/ 151926 h 260"/>
                <a:gd name="T24" fmla="*/ 29475 w 212"/>
                <a:gd name="T25" fmla="*/ 107614 h 260"/>
                <a:gd name="T26" fmla="*/ 29475 w 212"/>
                <a:gd name="T27" fmla="*/ 74556 h 26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2" h="260">
                  <a:moveTo>
                    <a:pt x="105" y="259"/>
                  </a:moveTo>
                  <a:cubicBezTo>
                    <a:pt x="163" y="259"/>
                    <a:pt x="211" y="211"/>
                    <a:pt x="211" y="153"/>
                  </a:cubicBezTo>
                  <a:lnTo>
                    <a:pt x="211" y="105"/>
                  </a:lnTo>
                  <a:cubicBezTo>
                    <a:pt x="211" y="47"/>
                    <a:pt x="163" y="0"/>
                    <a:pt x="105" y="0"/>
                  </a:cubicBezTo>
                  <a:cubicBezTo>
                    <a:pt x="47" y="0"/>
                    <a:pt x="0" y="47"/>
                    <a:pt x="0" y="105"/>
                  </a:cubicBezTo>
                  <a:lnTo>
                    <a:pt x="0" y="153"/>
                  </a:lnTo>
                  <a:cubicBezTo>
                    <a:pt x="0" y="212"/>
                    <a:pt x="47" y="259"/>
                    <a:pt x="105" y="259"/>
                  </a:cubicBezTo>
                  <a:close/>
                  <a:moveTo>
                    <a:pt x="42" y="106"/>
                  </a:moveTo>
                  <a:cubicBezTo>
                    <a:pt x="42" y="71"/>
                    <a:pt x="70" y="43"/>
                    <a:pt x="105" y="43"/>
                  </a:cubicBezTo>
                  <a:cubicBezTo>
                    <a:pt x="140" y="43"/>
                    <a:pt x="168" y="71"/>
                    <a:pt x="168" y="106"/>
                  </a:cubicBezTo>
                  <a:lnTo>
                    <a:pt x="168" y="153"/>
                  </a:lnTo>
                  <a:cubicBezTo>
                    <a:pt x="168" y="188"/>
                    <a:pt x="140" y="216"/>
                    <a:pt x="105" y="216"/>
                  </a:cubicBezTo>
                  <a:cubicBezTo>
                    <a:pt x="70" y="216"/>
                    <a:pt x="42" y="188"/>
                    <a:pt x="42" y="153"/>
                  </a:cubicBezTo>
                  <a:lnTo>
                    <a:pt x="42" y="10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  <p:sp>
          <p:nvSpPr>
            <p:cNvPr id="53" name="Freeform 166">
              <a:extLst>
                <a:ext uri="{FF2B5EF4-FFF2-40B4-BE49-F238E27FC236}">
                  <a16:creationId xmlns:a16="http://schemas.microsoft.com/office/drawing/2014/main" id="{6FC4F094-6FE2-44CC-A564-9C47077A00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2563" y="2916238"/>
              <a:ext cx="449262" cy="223837"/>
            </a:xfrm>
            <a:custGeom>
              <a:avLst/>
              <a:gdLst>
                <a:gd name="T0" fmla="*/ 323229 w 641"/>
                <a:gd name="T1" fmla="*/ 19068 h 316"/>
                <a:gd name="T2" fmla="*/ 241896 w 641"/>
                <a:gd name="T3" fmla="*/ 50142 h 316"/>
                <a:gd name="T4" fmla="*/ 136724 w 641"/>
                <a:gd name="T5" fmla="*/ 0 h 316"/>
                <a:gd name="T6" fmla="*/ 0 w 641"/>
                <a:gd name="T7" fmla="*/ 137714 h 316"/>
                <a:gd name="T8" fmla="*/ 0 w 641"/>
                <a:gd name="T9" fmla="*/ 206925 h 316"/>
                <a:gd name="T10" fmla="*/ 14724 w 641"/>
                <a:gd name="T11" fmla="*/ 221756 h 316"/>
                <a:gd name="T12" fmla="*/ 29448 w 641"/>
                <a:gd name="T13" fmla="*/ 206925 h 316"/>
                <a:gd name="T14" fmla="*/ 29448 w 641"/>
                <a:gd name="T15" fmla="*/ 137714 h 316"/>
                <a:gd name="T16" fmla="*/ 136724 w 641"/>
                <a:gd name="T17" fmla="*/ 30368 h 316"/>
                <a:gd name="T18" fmla="*/ 243298 w 641"/>
                <a:gd name="T19" fmla="*/ 137714 h 316"/>
                <a:gd name="T20" fmla="*/ 243298 w 641"/>
                <a:gd name="T21" fmla="*/ 206925 h 316"/>
                <a:gd name="T22" fmla="*/ 258022 w 641"/>
                <a:gd name="T23" fmla="*/ 221756 h 316"/>
                <a:gd name="T24" fmla="*/ 272746 w 641"/>
                <a:gd name="T25" fmla="*/ 206925 h 316"/>
                <a:gd name="T26" fmla="*/ 272746 w 641"/>
                <a:gd name="T27" fmla="*/ 137714 h 316"/>
                <a:gd name="T28" fmla="*/ 258022 w 641"/>
                <a:gd name="T29" fmla="*/ 74860 h 316"/>
                <a:gd name="T30" fmla="*/ 322527 w 641"/>
                <a:gd name="T31" fmla="*/ 48730 h 316"/>
                <a:gd name="T32" fmla="*/ 417883 w 641"/>
                <a:gd name="T33" fmla="*/ 145483 h 316"/>
                <a:gd name="T34" fmla="*/ 417883 w 641"/>
                <a:gd name="T35" fmla="*/ 192800 h 316"/>
                <a:gd name="T36" fmla="*/ 335849 w 641"/>
                <a:gd name="T37" fmla="*/ 192800 h 316"/>
                <a:gd name="T38" fmla="*/ 321125 w 641"/>
                <a:gd name="T39" fmla="*/ 207631 h 316"/>
                <a:gd name="T40" fmla="*/ 335849 w 641"/>
                <a:gd name="T41" fmla="*/ 222462 h 316"/>
                <a:gd name="T42" fmla="*/ 433309 w 641"/>
                <a:gd name="T43" fmla="*/ 222462 h 316"/>
                <a:gd name="T44" fmla="*/ 448033 w 641"/>
                <a:gd name="T45" fmla="*/ 207631 h 316"/>
                <a:gd name="T46" fmla="*/ 448033 w 641"/>
                <a:gd name="T47" fmla="*/ 145483 h 316"/>
                <a:gd name="T48" fmla="*/ 323229 w 641"/>
                <a:gd name="T49" fmla="*/ 19068 h 31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41" h="316">
                  <a:moveTo>
                    <a:pt x="461" y="27"/>
                  </a:moveTo>
                  <a:cubicBezTo>
                    <a:pt x="418" y="27"/>
                    <a:pt x="377" y="43"/>
                    <a:pt x="345" y="71"/>
                  </a:cubicBezTo>
                  <a:cubicBezTo>
                    <a:pt x="309" y="28"/>
                    <a:pt x="255" y="0"/>
                    <a:pt x="195" y="0"/>
                  </a:cubicBezTo>
                  <a:cubicBezTo>
                    <a:pt x="87" y="0"/>
                    <a:pt x="0" y="88"/>
                    <a:pt x="0" y="195"/>
                  </a:cubicBezTo>
                  <a:lnTo>
                    <a:pt x="0" y="293"/>
                  </a:lnTo>
                  <a:cubicBezTo>
                    <a:pt x="0" y="305"/>
                    <a:pt x="10" y="314"/>
                    <a:pt x="21" y="314"/>
                  </a:cubicBezTo>
                  <a:cubicBezTo>
                    <a:pt x="33" y="314"/>
                    <a:pt x="42" y="305"/>
                    <a:pt x="42" y="293"/>
                  </a:cubicBezTo>
                  <a:lnTo>
                    <a:pt x="42" y="195"/>
                  </a:lnTo>
                  <a:cubicBezTo>
                    <a:pt x="42" y="111"/>
                    <a:pt x="111" y="43"/>
                    <a:pt x="195" y="43"/>
                  </a:cubicBezTo>
                  <a:cubicBezTo>
                    <a:pt x="279" y="43"/>
                    <a:pt x="347" y="111"/>
                    <a:pt x="347" y="195"/>
                  </a:cubicBezTo>
                  <a:lnTo>
                    <a:pt x="347" y="293"/>
                  </a:lnTo>
                  <a:cubicBezTo>
                    <a:pt x="347" y="305"/>
                    <a:pt x="357" y="314"/>
                    <a:pt x="368" y="314"/>
                  </a:cubicBezTo>
                  <a:cubicBezTo>
                    <a:pt x="380" y="314"/>
                    <a:pt x="389" y="305"/>
                    <a:pt x="389" y="293"/>
                  </a:cubicBezTo>
                  <a:lnTo>
                    <a:pt x="389" y="195"/>
                  </a:lnTo>
                  <a:cubicBezTo>
                    <a:pt x="389" y="163"/>
                    <a:pt x="382" y="133"/>
                    <a:pt x="368" y="106"/>
                  </a:cubicBezTo>
                  <a:cubicBezTo>
                    <a:pt x="393" y="83"/>
                    <a:pt x="426" y="69"/>
                    <a:pt x="460" y="69"/>
                  </a:cubicBezTo>
                  <a:cubicBezTo>
                    <a:pt x="535" y="69"/>
                    <a:pt x="596" y="130"/>
                    <a:pt x="596" y="206"/>
                  </a:cubicBezTo>
                  <a:lnTo>
                    <a:pt x="596" y="273"/>
                  </a:lnTo>
                  <a:lnTo>
                    <a:pt x="479" y="273"/>
                  </a:lnTo>
                  <a:cubicBezTo>
                    <a:pt x="467" y="273"/>
                    <a:pt x="458" y="282"/>
                    <a:pt x="458" y="294"/>
                  </a:cubicBezTo>
                  <a:cubicBezTo>
                    <a:pt x="458" y="305"/>
                    <a:pt x="468" y="315"/>
                    <a:pt x="479" y="315"/>
                  </a:cubicBezTo>
                  <a:lnTo>
                    <a:pt x="618" y="315"/>
                  </a:lnTo>
                  <a:cubicBezTo>
                    <a:pt x="630" y="315"/>
                    <a:pt x="639" y="306"/>
                    <a:pt x="639" y="294"/>
                  </a:cubicBezTo>
                  <a:lnTo>
                    <a:pt x="639" y="206"/>
                  </a:lnTo>
                  <a:cubicBezTo>
                    <a:pt x="640" y="107"/>
                    <a:pt x="560" y="27"/>
                    <a:pt x="461" y="2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en-US" sz="1800"/>
            </a:p>
          </p:txBody>
        </p:sp>
      </p:grp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5772694" y="1443131"/>
            <a:ext cx="0" cy="266177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36">
            <a:extLst>
              <a:ext uri="{FF2B5EF4-FFF2-40B4-BE49-F238E27FC236}">
                <a16:creationId xmlns:a16="http://schemas.microsoft.com/office/drawing/2014/main" id="{A1D1AEC2-7A08-21FC-33BD-42E0D09326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8410" y="1403111"/>
            <a:ext cx="1774710" cy="741335"/>
          </a:xfrm>
          <a:prstGeom prst="rect">
            <a:avLst/>
          </a:prstGeom>
        </p:spPr>
      </p:pic>
      <p:pic>
        <p:nvPicPr>
          <p:cNvPr id="3" name="Graphique 5">
            <a:extLst>
              <a:ext uri="{FF2B5EF4-FFF2-40B4-BE49-F238E27FC236}">
                <a16:creationId xmlns:a16="http://schemas.microsoft.com/office/drawing/2014/main" id="{273A9CB1-055F-B64D-F404-D3D91DFF45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3159" y="3065119"/>
            <a:ext cx="353827" cy="35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959758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D0ECD568-6B62-F98C-9F83-3E16C7F357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7971" y="528493"/>
            <a:ext cx="2295463" cy="1556189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4552"/>
            <a:ext cx="8529602" cy="738664"/>
          </a:xfrm>
        </p:spPr>
        <p:txBody>
          <a:bodyPr/>
          <a:lstStyle/>
          <a:p>
            <a:r>
              <a:rPr lang="cs-CZ" sz="2400" dirty="0"/>
              <a:t>Fotovoltaika z hlediska podkladní konstrukce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E07724EC-1997-EFE2-380F-5BFD8AB005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037" r="32222"/>
          <a:stretch/>
        </p:blipFill>
        <p:spPr>
          <a:xfrm>
            <a:off x="7763171" y="597032"/>
            <a:ext cx="1218729" cy="1267862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E5515AA3-E540-E6D7-F00E-0D27D8014F15}"/>
              </a:ext>
            </a:extLst>
          </p:cNvPr>
          <p:cNvSpPr txBox="1"/>
          <p:nvPr/>
        </p:nvSpPr>
        <p:spPr>
          <a:xfrm>
            <a:off x="318986" y="1052011"/>
            <a:ext cx="5098985" cy="367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C00000"/>
                </a:solidFill>
              </a:rPr>
              <a:t>Jak velká deformace může být po 10 letech pod patkou PV, aby byly uznány záruky na hydroizolace??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B050"/>
                </a:solidFill>
              </a:rPr>
              <a:t>Jak velký roznášecí úhel lze započítat?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C00000"/>
                </a:solidFill>
              </a:rPr>
              <a:t>Lze využít hodnot CS(10) z technických listů (při 10% lin. </a:t>
            </a:r>
            <a:r>
              <a:rPr lang="cs-CZ" sz="1600" b="1" dirty="0" err="1">
                <a:solidFill>
                  <a:srgbClr val="C00000"/>
                </a:solidFill>
              </a:rPr>
              <a:t>def</a:t>
            </a:r>
            <a:r>
              <a:rPr lang="cs-CZ" sz="1600" b="1" dirty="0">
                <a:solidFill>
                  <a:srgbClr val="C00000"/>
                </a:solidFill>
              </a:rPr>
              <a:t>.), když je to měřeno za suchého stavu ale ve střeše nám kondenzuje vlhkost??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B050"/>
                </a:solidFill>
              </a:rPr>
              <a:t>Projeví se montáž a údržba PV na pevnostních parametrech tepelných izolací a jak to případně zohledníme ve výpočtu??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C00000"/>
                </a:solidFill>
              </a:rPr>
              <a:t>Jak to tedy navrhnout, když není metodika?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B050"/>
                </a:solidFill>
              </a:rPr>
              <a:t>Kdo za to zodpovídá, projektant stavební, nebo elektro??</a:t>
            </a:r>
            <a:endParaRPr lang="cs-CZ" sz="1600" b="1" dirty="0">
              <a:solidFill>
                <a:srgbClr val="C00000"/>
              </a:solidFill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383A6EDE-CA2A-6736-988A-454D8D372D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2569" y="2084682"/>
            <a:ext cx="2575234" cy="1276289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84B492DB-2253-C3A9-90A6-35061C7622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2569" y="3457460"/>
            <a:ext cx="2249104" cy="1654627"/>
          </a:xfrm>
          <a:prstGeom prst="rect">
            <a:avLst/>
          </a:prstGeom>
        </p:spPr>
      </p:pic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36A850BB-DDD0-3C22-3AB2-4E3692A7ECAF}"/>
              </a:ext>
            </a:extLst>
          </p:cNvPr>
          <p:cNvSpPr txBox="1">
            <a:spLocks/>
          </p:cNvSpPr>
          <p:nvPr/>
        </p:nvSpPr>
        <p:spPr>
          <a:xfrm>
            <a:off x="353125" y="654998"/>
            <a:ext cx="7973764" cy="288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1800" b="1" dirty="0"/>
              <a:t>Základní otázky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3785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60000" y="4552"/>
            <a:ext cx="8529601" cy="738664"/>
          </a:xfrm>
        </p:spPr>
        <p:txBody>
          <a:bodyPr/>
          <a:lstStyle/>
          <a:p>
            <a:r>
              <a:rPr lang="cs-CZ" sz="2400" dirty="0"/>
              <a:t>Fotovoltaika z hlediska podkladní konstrukce</a:t>
            </a:r>
            <a:endParaRPr lang="fr-FR" sz="2400" dirty="0"/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9E929D73-9E5E-D6D3-6AC6-10E1030495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A6F7D615-846D-66F0-5F9F-C53F8B3106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893775"/>
            <a:ext cx="7623596" cy="3901924"/>
          </a:xfrm>
          <a:prstGeom prst="rect">
            <a:avLst/>
          </a:prstGeom>
        </p:spPr>
      </p:pic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587118E1-A979-FC77-5572-ADE1CE31FDC4}"/>
              </a:ext>
            </a:extLst>
          </p:cNvPr>
          <p:cNvSpPr txBox="1">
            <a:spLocks/>
          </p:cNvSpPr>
          <p:nvPr/>
        </p:nvSpPr>
        <p:spPr>
          <a:xfrm>
            <a:off x="360000" y="654998"/>
            <a:ext cx="7973764" cy="288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1800" b="1" dirty="0"/>
              <a:t>Zatížení střešního pláště s PV idealizované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0B64A953-32BB-BFE9-7E50-6144DDC472AA}"/>
              </a:ext>
            </a:extLst>
          </p:cNvPr>
          <p:cNvSpPr txBox="1">
            <a:spLocks/>
          </p:cNvSpPr>
          <p:nvPr/>
        </p:nvSpPr>
        <p:spPr>
          <a:xfrm>
            <a:off x="6769538" y="790303"/>
            <a:ext cx="1389142" cy="123111"/>
          </a:xfrm>
          <a:prstGeom prst="rect">
            <a:avLst/>
          </a:prstGeom>
          <a:ln/>
        </p:spPr>
        <p:txBody>
          <a:bodyPr vert="horz" wrap="square" lIns="36000" tIns="0" rIns="36000" bIns="0" rtlCol="0" anchor="ctr">
            <a:spAutoFit/>
          </a:bodyPr>
          <a:lstStyle>
            <a:defPPr>
              <a:defRPr lang="en-US"/>
            </a:defPPr>
            <a:lvl1pPr marL="0" algn="r" defTabSz="3429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cs-CZ" dirty="0"/>
              <a:t>Zdroj: Kovové profily s.r.o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8399814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4552"/>
            <a:ext cx="8529602" cy="738664"/>
          </a:xfrm>
        </p:spPr>
        <p:txBody>
          <a:bodyPr/>
          <a:lstStyle/>
          <a:p>
            <a:r>
              <a:rPr lang="cs-CZ" sz="2400" dirty="0"/>
              <a:t>Fotovoltaika z hlediska podkladní konstrukce</a:t>
            </a:r>
            <a:endParaRPr lang="fr-FR" sz="2400" dirty="0"/>
          </a:p>
        </p:txBody>
      </p:sp>
      <p:sp>
        <p:nvSpPr>
          <p:cNvPr id="2" name="Espace réservé du texte 8">
            <a:extLst>
              <a:ext uri="{FF2B5EF4-FFF2-40B4-BE49-F238E27FC236}">
                <a16:creationId xmlns:a16="http://schemas.microsoft.com/office/drawing/2014/main" id="{F28B92DC-717D-5DDA-58EC-79F69D9670A6}"/>
              </a:ext>
            </a:extLst>
          </p:cNvPr>
          <p:cNvSpPr txBox="1">
            <a:spLocks/>
          </p:cNvSpPr>
          <p:nvPr/>
        </p:nvSpPr>
        <p:spPr>
          <a:xfrm>
            <a:off x="360000" y="654998"/>
            <a:ext cx="7973764" cy="288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1800" b="1" dirty="0"/>
              <a:t>Konstrukce PV zatížení zcela mění</a:t>
            </a:r>
            <a:r>
              <a:rPr lang="cs-CZ" dirty="0"/>
              <a:t>.</a:t>
            </a:r>
            <a:endParaRPr lang="en-US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37C52C57-44D0-0F98-730F-0D5853202C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98" y="903813"/>
            <a:ext cx="7683971" cy="3942359"/>
          </a:xfrm>
          <a:prstGeom prst="rect">
            <a:avLst/>
          </a:prstGeom>
        </p:spPr>
      </p:pic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8" name="Espace réservé du numéro de diapositive 2">
            <a:extLst>
              <a:ext uri="{FF2B5EF4-FFF2-40B4-BE49-F238E27FC236}">
                <a16:creationId xmlns:a16="http://schemas.microsoft.com/office/drawing/2014/main" id="{9249BD1B-4616-158A-2ACA-B8AB9B60B14B}"/>
              </a:ext>
            </a:extLst>
          </p:cNvPr>
          <p:cNvSpPr txBox="1">
            <a:spLocks/>
          </p:cNvSpPr>
          <p:nvPr/>
        </p:nvSpPr>
        <p:spPr>
          <a:xfrm>
            <a:off x="6803913" y="797178"/>
            <a:ext cx="1389142" cy="123111"/>
          </a:xfrm>
          <a:prstGeom prst="rect">
            <a:avLst/>
          </a:prstGeom>
          <a:ln/>
        </p:spPr>
        <p:txBody>
          <a:bodyPr vert="horz" wrap="square" lIns="36000" tIns="0" rIns="36000" bIns="0" rtlCol="0" anchor="ctr">
            <a:spAutoFit/>
          </a:bodyPr>
          <a:lstStyle>
            <a:defPPr>
              <a:defRPr lang="en-US"/>
            </a:defPPr>
            <a:lvl1pPr marL="0" algn="r" defTabSz="3429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cs-CZ" dirty="0"/>
              <a:t>Zdroj: Kovové profily s.r.o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3979793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4552"/>
            <a:ext cx="8529602" cy="738664"/>
          </a:xfrm>
        </p:spPr>
        <p:txBody>
          <a:bodyPr/>
          <a:lstStyle/>
          <a:p>
            <a:r>
              <a:rPr lang="cs-CZ" sz="2400" dirty="0"/>
              <a:t>Fotovoltaika z hlediska podkladní konstrukce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6" name="Espace réservé du texte 8">
            <a:extLst>
              <a:ext uri="{FF2B5EF4-FFF2-40B4-BE49-F238E27FC236}">
                <a16:creationId xmlns:a16="http://schemas.microsoft.com/office/drawing/2014/main" id="{0F334EA3-549A-7388-6111-A9310EE2CAB5}"/>
              </a:ext>
            </a:extLst>
          </p:cNvPr>
          <p:cNvSpPr txBox="1">
            <a:spLocks/>
          </p:cNvSpPr>
          <p:nvPr/>
        </p:nvSpPr>
        <p:spPr>
          <a:xfrm>
            <a:off x="353125" y="654998"/>
            <a:ext cx="7973764" cy="288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1800" b="1" dirty="0"/>
              <a:t>Konstrukce PV mění zatížení na bodové</a:t>
            </a:r>
            <a:r>
              <a:rPr lang="cs-CZ" dirty="0"/>
              <a:t>.</a:t>
            </a:r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1246A05-77DE-AD75-4615-BA0439FBB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99" y="942998"/>
            <a:ext cx="7793974" cy="3872799"/>
          </a:xfrm>
          <a:prstGeom prst="rect">
            <a:avLst/>
          </a:prstGeom>
        </p:spPr>
      </p:pic>
      <p:sp>
        <p:nvSpPr>
          <p:cNvPr id="2" name="Ovál 1">
            <a:extLst>
              <a:ext uri="{FF2B5EF4-FFF2-40B4-BE49-F238E27FC236}">
                <a16:creationId xmlns:a16="http://schemas.microsoft.com/office/drawing/2014/main" id="{195DCD32-CBF8-DD6A-15D8-26B1055CFCB4}"/>
              </a:ext>
            </a:extLst>
          </p:cNvPr>
          <p:cNvSpPr/>
          <p:nvPr/>
        </p:nvSpPr>
        <p:spPr>
          <a:xfrm>
            <a:off x="1581293" y="4001415"/>
            <a:ext cx="536265" cy="25432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FEE0A64A-7B7F-3DD5-FC4E-ED8E5921C6BB}"/>
              </a:ext>
            </a:extLst>
          </p:cNvPr>
          <p:cNvSpPr/>
          <p:nvPr/>
        </p:nvSpPr>
        <p:spPr>
          <a:xfrm>
            <a:off x="6305693" y="4001414"/>
            <a:ext cx="536265" cy="25432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8" name="Espace réservé du numéro de diapositive 2">
            <a:extLst>
              <a:ext uri="{FF2B5EF4-FFF2-40B4-BE49-F238E27FC236}">
                <a16:creationId xmlns:a16="http://schemas.microsoft.com/office/drawing/2014/main" id="{72CC8022-96C4-04BB-2022-9CC36200C65B}"/>
              </a:ext>
            </a:extLst>
          </p:cNvPr>
          <p:cNvSpPr txBox="1">
            <a:spLocks/>
          </p:cNvSpPr>
          <p:nvPr/>
        </p:nvSpPr>
        <p:spPr>
          <a:xfrm>
            <a:off x="6900163" y="845303"/>
            <a:ext cx="1389142" cy="123111"/>
          </a:xfrm>
          <a:prstGeom prst="rect">
            <a:avLst/>
          </a:prstGeom>
          <a:ln/>
        </p:spPr>
        <p:txBody>
          <a:bodyPr vert="horz" wrap="square" lIns="36000" tIns="0" rIns="36000" bIns="0" rtlCol="0" anchor="ctr">
            <a:spAutoFit/>
          </a:bodyPr>
          <a:lstStyle>
            <a:defPPr>
              <a:defRPr lang="en-US"/>
            </a:defPPr>
            <a:lvl1pPr marL="0" algn="r" defTabSz="3429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cs-CZ" dirty="0"/>
              <a:t>Zdroj: Kovové profily s.r.o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203654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4552"/>
            <a:ext cx="8529602" cy="738664"/>
          </a:xfrm>
        </p:spPr>
        <p:txBody>
          <a:bodyPr/>
          <a:lstStyle/>
          <a:p>
            <a:r>
              <a:rPr lang="cs-CZ" sz="2400" dirty="0"/>
              <a:t>Fotovoltaika z hlediska podkladní konstrukce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sp>
        <p:nvSpPr>
          <p:cNvPr id="2" name="Espace réservé du texte 8">
            <a:extLst>
              <a:ext uri="{FF2B5EF4-FFF2-40B4-BE49-F238E27FC236}">
                <a16:creationId xmlns:a16="http://schemas.microsoft.com/office/drawing/2014/main" id="{3F68EE10-9EC8-E566-3500-07B3CD7D0FBA}"/>
              </a:ext>
            </a:extLst>
          </p:cNvPr>
          <p:cNvSpPr txBox="1">
            <a:spLocks/>
          </p:cNvSpPr>
          <p:nvPr/>
        </p:nvSpPr>
        <p:spPr>
          <a:xfrm>
            <a:off x="360000" y="654998"/>
            <a:ext cx="7973764" cy="288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56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0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1800" b="1" dirty="0"/>
              <a:t>Výzkumný úkol ČVUT/UCEEB</a:t>
            </a:r>
            <a:r>
              <a:rPr lang="cs-CZ" dirty="0"/>
              <a:t>.</a:t>
            </a:r>
            <a:endParaRPr lang="en-US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2DCDEEAD-FE0A-4DAA-F81D-5AC825DAE2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99" y="902360"/>
            <a:ext cx="7567093" cy="3873637"/>
          </a:xfrm>
          <a:prstGeom prst="rect">
            <a:avLst/>
          </a:prstGeom>
        </p:spPr>
      </p:pic>
      <p:sp>
        <p:nvSpPr>
          <p:cNvPr id="6" name="Espace réservé du numéro de diapositive 2">
            <a:extLst>
              <a:ext uri="{FF2B5EF4-FFF2-40B4-BE49-F238E27FC236}">
                <a16:creationId xmlns:a16="http://schemas.microsoft.com/office/drawing/2014/main" id="{D260A8F2-D8BB-D248-2ACB-2875B80C605B}"/>
              </a:ext>
            </a:extLst>
          </p:cNvPr>
          <p:cNvSpPr txBox="1">
            <a:spLocks/>
          </p:cNvSpPr>
          <p:nvPr/>
        </p:nvSpPr>
        <p:spPr>
          <a:xfrm>
            <a:off x="7023921" y="790303"/>
            <a:ext cx="1389142" cy="123111"/>
          </a:xfrm>
          <a:prstGeom prst="rect">
            <a:avLst/>
          </a:prstGeom>
          <a:ln/>
        </p:spPr>
        <p:txBody>
          <a:bodyPr vert="horz" wrap="square" lIns="36000" tIns="0" rIns="36000" bIns="0" rtlCol="0" anchor="ctr">
            <a:spAutoFit/>
          </a:bodyPr>
          <a:lstStyle>
            <a:defPPr>
              <a:defRPr lang="en-US"/>
            </a:defPPr>
            <a:lvl1pPr marL="0" algn="r" defTabSz="3429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cs-CZ" dirty="0"/>
              <a:t>Zdroj: ČVUT Prah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4829172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D0ECD568-6B62-F98C-9F83-3E16C7F357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7971" y="528493"/>
            <a:ext cx="2295463" cy="1556189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59999" y="189218"/>
            <a:ext cx="8671638" cy="369332"/>
          </a:xfrm>
        </p:spPr>
        <p:txBody>
          <a:bodyPr/>
          <a:lstStyle/>
          <a:p>
            <a:r>
              <a:rPr lang="cs-CZ" sz="2400" dirty="0"/>
              <a:t>Dlouhodobá zatížitelnost </a:t>
            </a:r>
            <a:r>
              <a:rPr lang="cs-CZ" sz="2400" dirty="0" err="1"/>
              <a:t>eps</a:t>
            </a:r>
            <a:r>
              <a:rPr lang="cs-CZ" sz="2400" dirty="0"/>
              <a:t> a </a:t>
            </a:r>
            <a:r>
              <a:rPr lang="cs-CZ" sz="2400" dirty="0" err="1"/>
              <a:t>mw</a:t>
            </a:r>
            <a:endParaRPr lang="fr-FR" sz="2400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4FEA84-B6EF-727B-8B84-CEA1EBF29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21634" y="4892726"/>
            <a:ext cx="4325993" cy="123111"/>
          </a:xfrm>
        </p:spPr>
        <p:txBody>
          <a:bodyPr/>
          <a:lstStyle/>
          <a:p>
            <a:pPr algn="l"/>
            <a:r>
              <a:rPr lang="cs-CZ" dirty="0"/>
              <a:t>FOTOVOLTAIKA A PLOCHÉ STŘECHY - ČERVENÝ KOHOUT 2026</a:t>
            </a:r>
            <a:endParaRPr lang="en-GB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E07724EC-1997-EFE2-380F-5BFD8AB005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037" r="32222"/>
          <a:stretch/>
        </p:blipFill>
        <p:spPr>
          <a:xfrm>
            <a:off x="7763171" y="597032"/>
            <a:ext cx="1218729" cy="1267862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383A6EDE-CA2A-6736-988A-454D8D372D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8815" y="2091536"/>
            <a:ext cx="2575234" cy="1276289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84B492DB-2253-C3A9-90A6-35061C7622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2569" y="3457460"/>
            <a:ext cx="2249104" cy="1654627"/>
          </a:xfrm>
          <a:prstGeom prst="rect">
            <a:avLst/>
          </a:prstGeom>
        </p:spPr>
      </p:pic>
      <p:sp>
        <p:nvSpPr>
          <p:cNvPr id="2" name="TextovéPole 1">
            <a:extLst>
              <a:ext uri="{FF2B5EF4-FFF2-40B4-BE49-F238E27FC236}">
                <a16:creationId xmlns:a16="http://schemas.microsoft.com/office/drawing/2014/main" id="{BFFD38BF-0864-15AE-F56B-B8454E022EEE}"/>
              </a:ext>
            </a:extLst>
          </p:cNvPr>
          <p:cNvSpPr txBox="1"/>
          <p:nvPr/>
        </p:nvSpPr>
        <p:spPr>
          <a:xfrm>
            <a:off x="250648" y="934769"/>
            <a:ext cx="5287494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000" b="1" dirty="0">
                <a:solidFill>
                  <a:srgbClr val="C00000"/>
                </a:solidFill>
              </a:rPr>
              <a:t>Isover EPS </a:t>
            </a:r>
          </a:p>
          <a:p>
            <a:r>
              <a:rPr lang="cs-CZ" sz="1600" dirty="0"/>
              <a:t>Základní hodnota dle EN …</a:t>
            </a:r>
            <a:r>
              <a:rPr lang="cs-CZ" sz="1600" b="1" dirty="0">
                <a:solidFill>
                  <a:srgbClr val="C00000"/>
                </a:solidFill>
              </a:rPr>
              <a:t>CS(10) </a:t>
            </a:r>
          </a:p>
          <a:p>
            <a:r>
              <a:rPr lang="cs-CZ" sz="1600" b="1" dirty="0"/>
              <a:t>Trvalá </a:t>
            </a:r>
            <a:r>
              <a:rPr lang="cs-CZ" sz="1600" b="1" dirty="0">
                <a:solidFill>
                  <a:srgbClr val="00B050"/>
                </a:solidFill>
              </a:rPr>
              <a:t>plošná</a:t>
            </a:r>
            <a:r>
              <a:rPr lang="cs-CZ" sz="1600" b="1" dirty="0"/>
              <a:t> zatížitelnost…..</a:t>
            </a:r>
            <a:r>
              <a:rPr lang="cs-CZ" sz="1600" b="1" dirty="0">
                <a:solidFill>
                  <a:srgbClr val="C00000"/>
                </a:solidFill>
              </a:rPr>
              <a:t>20% CS(10) </a:t>
            </a:r>
            <a:endParaRPr lang="cs-CZ" sz="1600" b="1" dirty="0">
              <a:solidFill>
                <a:srgbClr val="00B050"/>
              </a:solidFill>
            </a:endParaRPr>
          </a:p>
          <a:p>
            <a:r>
              <a:rPr lang="cs-CZ" sz="1600" b="1" dirty="0"/>
              <a:t>Trvalá </a:t>
            </a:r>
            <a:r>
              <a:rPr lang="cs-CZ" sz="1600" b="1" dirty="0">
                <a:solidFill>
                  <a:srgbClr val="00B050"/>
                </a:solidFill>
              </a:rPr>
              <a:t>bodová a liniová</a:t>
            </a:r>
            <a:r>
              <a:rPr lang="cs-CZ" sz="1600" b="1" dirty="0"/>
              <a:t> zatížitelnost….</a:t>
            </a:r>
            <a:r>
              <a:rPr lang="cs-CZ" sz="1600" b="1" dirty="0">
                <a:solidFill>
                  <a:srgbClr val="C00000"/>
                </a:solidFill>
              </a:rPr>
              <a:t>40% CS(10) </a:t>
            </a:r>
            <a:endParaRPr lang="cs-CZ" sz="1600" b="1" dirty="0">
              <a:solidFill>
                <a:srgbClr val="00B050"/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0082356-D490-A9FE-2C7C-3386F3D16FEE}"/>
              </a:ext>
            </a:extLst>
          </p:cNvPr>
          <p:cNvSpPr txBox="1"/>
          <p:nvPr/>
        </p:nvSpPr>
        <p:spPr>
          <a:xfrm>
            <a:off x="250648" y="2079259"/>
            <a:ext cx="5464352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000" b="1" dirty="0">
                <a:solidFill>
                  <a:srgbClr val="C00000"/>
                </a:solidFill>
              </a:rPr>
              <a:t>Isover MW</a:t>
            </a:r>
          </a:p>
          <a:p>
            <a:r>
              <a:rPr lang="cs-CZ" sz="1600" dirty="0"/>
              <a:t>Základní hodnota dle EN ….</a:t>
            </a:r>
            <a:r>
              <a:rPr lang="cs-CZ" sz="1600" b="1" dirty="0">
                <a:solidFill>
                  <a:srgbClr val="C00000"/>
                </a:solidFill>
              </a:rPr>
              <a:t>CS(10) </a:t>
            </a:r>
          </a:p>
          <a:p>
            <a:r>
              <a:rPr lang="cs-CZ" sz="1600" b="1" dirty="0"/>
              <a:t>Trvalá </a:t>
            </a:r>
            <a:r>
              <a:rPr lang="cs-CZ" sz="1600" b="1" dirty="0">
                <a:solidFill>
                  <a:srgbClr val="00B050"/>
                </a:solidFill>
              </a:rPr>
              <a:t>plošná</a:t>
            </a:r>
            <a:r>
              <a:rPr lang="cs-CZ" sz="1600" b="1" dirty="0"/>
              <a:t> zatížitelnost…..</a:t>
            </a:r>
            <a:r>
              <a:rPr lang="cs-CZ" sz="1600" b="1" dirty="0">
                <a:solidFill>
                  <a:srgbClr val="C00000"/>
                </a:solidFill>
              </a:rPr>
              <a:t>10% CS(10) </a:t>
            </a:r>
          </a:p>
          <a:p>
            <a:r>
              <a:rPr lang="cs-CZ" sz="1600" b="1" dirty="0"/>
              <a:t>Trvalá </a:t>
            </a:r>
            <a:r>
              <a:rPr lang="cs-CZ" sz="1600" b="1" dirty="0">
                <a:solidFill>
                  <a:srgbClr val="00B050"/>
                </a:solidFill>
              </a:rPr>
              <a:t>bodová a liniová</a:t>
            </a:r>
            <a:r>
              <a:rPr lang="cs-CZ" sz="1600" b="1" dirty="0"/>
              <a:t> zatížitelnost….</a:t>
            </a:r>
            <a:r>
              <a:rPr lang="cs-CZ" sz="1600" b="1" dirty="0">
                <a:solidFill>
                  <a:srgbClr val="C00000"/>
                </a:solidFill>
              </a:rPr>
              <a:t>30% CS(10) </a:t>
            </a:r>
            <a:endParaRPr lang="cs-CZ" sz="1600" b="1" dirty="0">
              <a:solidFill>
                <a:srgbClr val="00B050"/>
              </a:solidFill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EAE7AB57-DD3F-5D29-7CA2-9675E6E342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2794" y="3495734"/>
            <a:ext cx="2614698" cy="1276289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852CB792-C664-CCD0-3DFD-1F1FCF68D5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6057" y="3495733"/>
            <a:ext cx="2317434" cy="1276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83408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d0847ed77d3d7422e8a70e44db2bab4dcd97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Thème Office">
  <a:themeElements>
    <a:clrScheme name="Personnalisé 3">
      <a:dk1>
        <a:srgbClr val="17428C"/>
      </a:dk1>
      <a:lt1>
        <a:srgbClr val="FFFFFF"/>
      </a:lt1>
      <a:dk2>
        <a:srgbClr val="00B9AA"/>
      </a:dk2>
      <a:lt2>
        <a:srgbClr val="00ADE1"/>
      </a:lt2>
      <a:accent1>
        <a:srgbClr val="00B9AA"/>
      </a:accent1>
      <a:accent2>
        <a:srgbClr val="00ADE1"/>
      </a:accent2>
      <a:accent3>
        <a:srgbClr val="17428C"/>
      </a:accent3>
      <a:accent4>
        <a:srgbClr val="ED0530"/>
      </a:accent4>
      <a:accent5>
        <a:srgbClr val="FF7800"/>
      </a:accent5>
      <a:accent6>
        <a:srgbClr val="17428C"/>
      </a:accent6>
      <a:hlink>
        <a:srgbClr val="17428C"/>
      </a:hlink>
      <a:folHlink>
        <a:srgbClr val="00ADE1"/>
      </a:folHlink>
    </a:clrScheme>
    <a:fontScheme name="Isov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ext Only">
  <a:themeElements>
    <a:clrScheme name="SG new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17428C"/>
      </a:accent1>
      <a:accent2>
        <a:srgbClr val="ED0530"/>
      </a:accent2>
      <a:accent3>
        <a:srgbClr val="FF7800"/>
      </a:accent3>
      <a:accent4>
        <a:srgbClr val="00B9AA"/>
      </a:accent4>
      <a:accent5>
        <a:srgbClr val="00ADE1"/>
      </a:accent5>
      <a:accent6>
        <a:srgbClr val="17428C"/>
      </a:accent6>
      <a:hlink>
        <a:srgbClr val="ED0530"/>
      </a:hlink>
      <a:folHlink>
        <a:srgbClr val="FF780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ters_Saint Gobain_2023_Pokeslide_V3-compress" id="{CC254312-5FCE-4A5B-803D-5BC018C1F25A}" vid="{7E906F9E-85BE-4A96-819E-BDDCEEA88048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ec7b8fe-4114-46f4-ade6-70f04e86ddb7">
      <Terms xmlns="http://schemas.microsoft.com/office/infopath/2007/PartnerControls"/>
    </lcf76f155ced4ddcb4097134ff3c332f>
    <TaxCatchAll xmlns="b453b420-91fd-4e4a-aa4e-cd2673e636f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E99B123D73964895A04A8DAE65C271" ma:contentTypeVersion="18" ma:contentTypeDescription="Crée un document." ma:contentTypeScope="" ma:versionID="40429e7b095dc8ddf272e16431a489ba">
  <xsd:schema xmlns:xsd="http://www.w3.org/2001/XMLSchema" xmlns:xs="http://www.w3.org/2001/XMLSchema" xmlns:p="http://schemas.microsoft.com/office/2006/metadata/properties" xmlns:ns2="fec7b8fe-4114-46f4-ade6-70f04e86ddb7" xmlns:ns3="b453b420-91fd-4e4a-aa4e-cd2673e636f9" targetNamespace="http://schemas.microsoft.com/office/2006/metadata/properties" ma:root="true" ma:fieldsID="5a18628cc4901235acf9b0c5a0d08a7d" ns2:_="" ns3:_="">
    <xsd:import namespace="fec7b8fe-4114-46f4-ade6-70f04e86ddb7"/>
    <xsd:import namespace="b453b420-91fd-4e4a-aa4e-cd2673e636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7b8fe-4114-46f4-ade6-70f04e86dd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8a8e937e-a000-4b8d-b995-2f10e0fc07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53b420-91fd-4e4a-aa4e-cd2673e636f9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70e2644-5e5b-43a3-88ad-22e59281d42a}" ma:internalName="TaxCatchAll" ma:showField="CatchAllData" ma:web="b453b420-91fd-4e4a-aa4e-cd2673e63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F157FDC-374C-4552-B39F-18693B8B6F86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b453b420-91fd-4e4a-aa4e-cd2673e636f9"/>
    <ds:schemaRef ds:uri="http://schemas.microsoft.com/office/infopath/2007/PartnerControls"/>
    <ds:schemaRef ds:uri="fec7b8fe-4114-46f4-ade6-70f04e86ddb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5376C5C-906B-4464-9752-5B34520084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7b8fe-4114-46f4-ade6-70f04e86ddb7"/>
    <ds:schemaRef ds:uri="b453b420-91fd-4e4a-aa4e-cd2673e636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9ADF8F7-F483-4031-BE21-DD5128E657F0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ced06422-c515-4a4e-a1f2-e6a0c0200eae}" enabled="1" method="Standard" siteId="{e339bd4b-2e3b-4035-a452-2112d502f2f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69</TotalTime>
  <Words>1051</Words>
  <Application>Microsoft Office PowerPoint</Application>
  <PresentationFormat>Předvádění na obrazovce (16:9)</PresentationFormat>
  <Paragraphs>156</Paragraphs>
  <Slides>27</Slides>
  <Notes>8</Notes>
  <HiddenSlides>1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7</vt:i4>
      </vt:variant>
    </vt:vector>
  </HeadingPairs>
  <TitlesOfParts>
    <vt:vector size="34" baseType="lpstr">
      <vt:lpstr>Arial</vt:lpstr>
      <vt:lpstr>Calibri</vt:lpstr>
      <vt:lpstr>Wingdings</vt:lpstr>
      <vt:lpstr>Wingdings 3</vt:lpstr>
      <vt:lpstr>6_Thème Office</vt:lpstr>
      <vt:lpstr>Text Only</vt:lpstr>
      <vt:lpstr>think-cell Slide</vt:lpstr>
      <vt:lpstr>Fotovoltaika (PV)  a ploché střechy</vt:lpstr>
      <vt:lpstr>obsah</vt:lpstr>
      <vt:lpstr>ISOVER | ZNAČKA SKUPINY SAINT-GOBAIN</vt:lpstr>
      <vt:lpstr>Fotovoltaika z hlediska podkladní konstrukce</vt:lpstr>
      <vt:lpstr>Fotovoltaika z hlediska podkladní konstrukce</vt:lpstr>
      <vt:lpstr>Fotovoltaika z hlediska podkladní konstrukce</vt:lpstr>
      <vt:lpstr>Fotovoltaika z hlediska podkladní konstrukce</vt:lpstr>
      <vt:lpstr>Fotovoltaika z hlediska podkladní konstrukce</vt:lpstr>
      <vt:lpstr>Dlouhodobá zatížitelnost eps a mw</vt:lpstr>
      <vt:lpstr>Konkrétní příklad posouzení</vt:lpstr>
      <vt:lpstr>Dlouhodobá zatížitelnost eps a mw </vt:lpstr>
      <vt:lpstr>Systém k2 řešení má, jen se v praxi nepoužívá!!!</vt:lpstr>
      <vt:lpstr>Fotovoltaika a požární bezpečnost</vt:lpstr>
      <vt:lpstr>Fotovoltaika a požární bezpečnost  dle ČSN P 73 0847  z 05/2024</vt:lpstr>
      <vt:lpstr>Fotovoltaika a požární bezpečnost</vt:lpstr>
      <vt:lpstr>fatrafast:</vt:lpstr>
      <vt:lpstr>solatech:</vt:lpstr>
      <vt:lpstr>ALKORSOLAR:</vt:lpstr>
      <vt:lpstr>Ejot ejobar:</vt:lpstr>
      <vt:lpstr>Isover extra hard (XH) – novinka pro pv</vt:lpstr>
      <vt:lpstr>Fotovoltaika  a ISOVER XH (EXTRA HARD)</vt:lpstr>
      <vt:lpstr>Isover eps 250 – novinka pro pv</vt:lpstr>
      <vt:lpstr>Fotovoltaika a nové skladby plochých střech</vt:lpstr>
      <vt:lpstr>Fotovoltaika a nové skladby plochých střech</vt:lpstr>
      <vt:lpstr>Závěry:</vt:lpstr>
      <vt:lpstr>Zkoušky čvut/uceeb</vt:lpstr>
      <vt:lpstr>Děkuji vám za pozor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écile dupuis</dc:creator>
  <cp:lastModifiedBy>Rydlo, Pavel</cp:lastModifiedBy>
  <cp:revision>346</cp:revision>
  <dcterms:created xsi:type="dcterms:W3CDTF">2016-06-27T07:51:10Z</dcterms:created>
  <dcterms:modified xsi:type="dcterms:W3CDTF">2026-03-24T11:4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265717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5.0.6</vt:lpwstr>
  </property>
  <property fmtid="{D5CDD505-2E9C-101B-9397-08002B2CF9AE}" pid="5" name="ContentTypeId">
    <vt:lpwstr>0x01010009E99B123D73964895A04A8DAE65C271</vt:lpwstr>
  </property>
  <property fmtid="{D5CDD505-2E9C-101B-9397-08002B2CF9AE}" pid="6" name="MSIP_Label_ced06422-c515-4a4e-a1f2-e6a0c0200eae_Enabled">
    <vt:lpwstr>true</vt:lpwstr>
  </property>
  <property fmtid="{D5CDD505-2E9C-101B-9397-08002B2CF9AE}" pid="7" name="MSIP_Label_ced06422-c515-4a4e-a1f2-e6a0c0200eae_SetDate">
    <vt:lpwstr>2022-03-21T17:27:59Z</vt:lpwstr>
  </property>
  <property fmtid="{D5CDD505-2E9C-101B-9397-08002B2CF9AE}" pid="8" name="MSIP_Label_ced06422-c515-4a4e-a1f2-e6a0c0200eae_Method">
    <vt:lpwstr>Standard</vt:lpwstr>
  </property>
  <property fmtid="{D5CDD505-2E9C-101B-9397-08002B2CF9AE}" pid="9" name="MSIP_Label_ced06422-c515-4a4e-a1f2-e6a0c0200eae_Name">
    <vt:lpwstr>Unclassifed</vt:lpwstr>
  </property>
  <property fmtid="{D5CDD505-2E9C-101B-9397-08002B2CF9AE}" pid="10" name="MSIP_Label_ced06422-c515-4a4e-a1f2-e6a0c0200eae_SiteId">
    <vt:lpwstr>e339bd4b-2e3b-4035-a452-2112d502f2ff</vt:lpwstr>
  </property>
  <property fmtid="{D5CDD505-2E9C-101B-9397-08002B2CF9AE}" pid="11" name="MSIP_Label_ced06422-c515-4a4e-a1f2-e6a0c0200eae_ActionId">
    <vt:lpwstr>08995b8c-fc20-4e70-83d8-4824ffe98b92</vt:lpwstr>
  </property>
  <property fmtid="{D5CDD505-2E9C-101B-9397-08002B2CF9AE}" pid="12" name="MSIP_Label_ced06422-c515-4a4e-a1f2-e6a0c0200eae_ContentBits">
    <vt:lpwstr>0</vt:lpwstr>
  </property>
</Properties>
</file>